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ags/tag25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26.xml" ContentType="application/vnd.openxmlformats-officedocument.presentationml.tags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27.xml" ContentType="application/vnd.openxmlformats-officedocument.presentationml.tags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28.xml" ContentType="application/vnd.openxmlformats-officedocument.presentationml.tags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29.xml" ContentType="application/vnd.openxmlformats-officedocument.presentationml.tags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31.xml" ContentType="application/vnd.openxmlformats-officedocument.presentationml.tags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ags/tag32.xml" ContentType="application/vnd.openxmlformats-officedocument.presentationml.tags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</p:sldMasterIdLst>
  <p:notesMasterIdLst>
    <p:notesMasterId r:id="rId32"/>
  </p:notesMasterIdLst>
  <p:handoutMasterIdLst>
    <p:handoutMasterId r:id="rId33"/>
  </p:handoutMasterIdLst>
  <p:sldIdLst>
    <p:sldId id="348" r:id="rId2"/>
    <p:sldId id="769" r:id="rId3"/>
    <p:sldId id="768" r:id="rId4"/>
    <p:sldId id="771" r:id="rId5"/>
    <p:sldId id="800" r:id="rId6"/>
    <p:sldId id="772" r:id="rId7"/>
    <p:sldId id="779" r:id="rId8"/>
    <p:sldId id="774" r:id="rId9"/>
    <p:sldId id="775" r:id="rId10"/>
    <p:sldId id="776" r:id="rId11"/>
    <p:sldId id="777" r:id="rId12"/>
    <p:sldId id="778" r:id="rId13"/>
    <p:sldId id="802" r:id="rId14"/>
    <p:sldId id="781" r:id="rId15"/>
    <p:sldId id="782" r:id="rId16"/>
    <p:sldId id="783" r:id="rId17"/>
    <p:sldId id="784" r:id="rId18"/>
    <p:sldId id="785" r:id="rId19"/>
    <p:sldId id="786" r:id="rId20"/>
    <p:sldId id="787" r:id="rId21"/>
    <p:sldId id="788" r:id="rId22"/>
    <p:sldId id="789" r:id="rId23"/>
    <p:sldId id="790" r:id="rId24"/>
    <p:sldId id="791" r:id="rId25"/>
    <p:sldId id="792" r:id="rId26"/>
    <p:sldId id="793" r:id="rId27"/>
    <p:sldId id="794" r:id="rId28"/>
    <p:sldId id="795" r:id="rId29"/>
    <p:sldId id="796" r:id="rId30"/>
    <p:sldId id="723" r:id="rId31"/>
  </p:sldIdLst>
  <p:sldSz cx="9144000" cy="6858000" type="screen4x3"/>
  <p:notesSz cx="7099300" cy="10234613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3750"/>
    <a:srgbClr val="336699"/>
    <a:srgbClr val="FF0000"/>
    <a:srgbClr val="FFFF99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99" autoAdjust="0"/>
    <p:restoredTop sz="96433" autoAdjust="0"/>
  </p:normalViewPr>
  <p:slideViewPr>
    <p:cSldViewPr>
      <p:cViewPr varScale="1">
        <p:scale>
          <a:sx n="112" d="100"/>
          <a:sy n="112" d="100"/>
        </p:scale>
        <p:origin x="1068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8664"/>
    </p:cViewPr>
  </p:sorterViewPr>
  <p:gridSpacing cx="90012" cy="90012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Classeur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srvdata\Econoler\PROJETS\En%20cours\5910%20Qc,%20Accompagnement,%20Fortress\03-1%20Doc%20de%20travail\Formation\illustration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89009262430897E-2"/>
          <c:y val="0.16203706632288362"/>
          <c:w val="0.86273600174978105"/>
          <c:h val="0.66011555847185799"/>
        </c:manualLayout>
      </c:layout>
      <c:areaChart>
        <c:grouping val="standard"/>
        <c:varyColors val="0"/>
        <c:ser>
          <c:idx val="0"/>
          <c:order val="0"/>
          <c:spPr>
            <a:solidFill>
              <a:schemeClr val="accent1">
                <a:lumMod val="20000"/>
                <a:lumOff val="80000"/>
              </a:schemeClr>
            </a:solidFill>
          </c:spPr>
          <c:cat>
            <c:numRef>
              <c:f>Feuil1!$B$11:$B$28</c:f>
              <c:numCache>
                <c:formatCode>General</c:formatCode>
                <c:ptCount val="1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</c:numCache>
            </c:numRef>
          </c:cat>
          <c:val>
            <c:numRef>
              <c:f>Feuil1!$C$10:$C$29</c:f>
              <c:numCache>
                <c:formatCode>General</c:formatCode>
                <c:ptCount val="20"/>
                <c:pt idx="0">
                  <c:v>0</c:v>
                </c:pt>
                <c:pt idx="1">
                  <c:v>14.654372370835951</c:v>
                </c:pt>
                <c:pt idx="2">
                  <c:v>17.44556500445179</c:v>
                </c:pt>
                <c:pt idx="3">
                  <c:v>19.101817048586319</c:v>
                </c:pt>
                <c:pt idx="4">
                  <c:v>16.311919606567258</c:v>
                </c:pt>
                <c:pt idx="5">
                  <c:v>12.556079007419349</c:v>
                </c:pt>
                <c:pt idx="6">
                  <c:v>10.72564547788272</c:v>
                </c:pt>
                <c:pt idx="7">
                  <c:v>15.80322480851282</c:v>
                </c:pt>
                <c:pt idx="8">
                  <c:v>12.223812464762119</c:v>
                </c:pt>
                <c:pt idx="9">
                  <c:v>16.956508939081051</c:v>
                </c:pt>
                <c:pt idx="10">
                  <c:v>14.827460486199559</c:v>
                </c:pt>
                <c:pt idx="11">
                  <c:v>16.63768641654891</c:v>
                </c:pt>
                <c:pt idx="12">
                  <c:v>12.34518631124142</c:v>
                </c:pt>
                <c:pt idx="13">
                  <c:v>11.131358440710541</c:v>
                </c:pt>
                <c:pt idx="14">
                  <c:v>10.005317457863219</c:v>
                </c:pt>
                <c:pt idx="15">
                  <c:v>15.281214141905419</c:v>
                </c:pt>
                <c:pt idx="16">
                  <c:v>14.94205254639586</c:v>
                </c:pt>
                <c:pt idx="17">
                  <c:v>15.638975515925059</c:v>
                </c:pt>
                <c:pt idx="18">
                  <c:v>10.2899191091535</c:v>
                </c:pt>
                <c:pt idx="19">
                  <c:v>0</c:v>
                </c:pt>
              </c:numCache>
            </c:numRef>
          </c:val>
        </c:ser>
        <c:ser>
          <c:idx val="5"/>
          <c:order val="4"/>
          <c:spPr>
            <a:solidFill>
              <a:schemeClr val="bg1"/>
            </a:solidFill>
            <a:ln w="25400">
              <a:noFill/>
            </a:ln>
          </c:spPr>
          <c:val>
            <c:numRef>
              <c:f>Feuil1!$D$10:$D$29</c:f>
              <c:numCache>
                <c:formatCode>General</c:formatCode>
                <c:ptCount val="20"/>
                <c:pt idx="0">
                  <c:v>14.271006397446831</c:v>
                </c:pt>
                <c:pt idx="1">
                  <c:v>14.271006397446831</c:v>
                </c:pt>
                <c:pt idx="2">
                  <c:v>14.271006397446831</c:v>
                </c:pt>
                <c:pt idx="3">
                  <c:v>14.271006397446831</c:v>
                </c:pt>
                <c:pt idx="4">
                  <c:v>14.271006397446831</c:v>
                </c:pt>
                <c:pt idx="5">
                  <c:v>14.271006397446831</c:v>
                </c:pt>
                <c:pt idx="6">
                  <c:v>14.271006397446831</c:v>
                </c:pt>
                <c:pt idx="7">
                  <c:v>14.271006397446831</c:v>
                </c:pt>
                <c:pt idx="8">
                  <c:v>14.271006397446831</c:v>
                </c:pt>
                <c:pt idx="9">
                  <c:v>14.271006397446831</c:v>
                </c:pt>
                <c:pt idx="10">
                  <c:v>14.271006397446831</c:v>
                </c:pt>
                <c:pt idx="11">
                  <c:v>14.271006397446831</c:v>
                </c:pt>
                <c:pt idx="12">
                  <c:v>14.271006397446831</c:v>
                </c:pt>
                <c:pt idx="13">
                  <c:v>14.271006397446831</c:v>
                </c:pt>
                <c:pt idx="14">
                  <c:v>14.271006397446831</c:v>
                </c:pt>
                <c:pt idx="15">
                  <c:v>14.271006397446831</c:v>
                </c:pt>
                <c:pt idx="16">
                  <c:v>14.271006397446831</c:v>
                </c:pt>
                <c:pt idx="17">
                  <c:v>14.271006397446831</c:v>
                </c:pt>
                <c:pt idx="18">
                  <c:v>14.271006397446831</c:v>
                </c:pt>
                <c:pt idx="19">
                  <c:v>14.2710063974468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3968240"/>
        <c:axId val="363971768"/>
      </c:areaChart>
      <c:scatterChart>
        <c:scatterStyle val="lineMarker"/>
        <c:varyColors val="0"/>
        <c:ser>
          <c:idx val="2"/>
          <c:order val="2"/>
          <c:spPr>
            <a:ln>
              <a:solidFill>
                <a:schemeClr val="tx2"/>
              </a:solidFill>
            </a:ln>
          </c:spPr>
          <c:marker>
            <c:symbol val="none"/>
          </c:marker>
          <c:xVal>
            <c:numRef>
              <c:f>Feuil1!$B$11:$B$28</c:f>
              <c:numCache>
                <c:formatCode>General</c:formatCode>
                <c:ptCount val="1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</c:numCache>
            </c:numRef>
          </c:xVal>
          <c:yVal>
            <c:numRef>
              <c:f>Feuil1!$C$11:$C$28</c:f>
              <c:numCache>
                <c:formatCode>General</c:formatCode>
                <c:ptCount val="18"/>
                <c:pt idx="0">
                  <c:v>14.654372370835951</c:v>
                </c:pt>
                <c:pt idx="1">
                  <c:v>17.44556500445179</c:v>
                </c:pt>
                <c:pt idx="2">
                  <c:v>19.101817048586319</c:v>
                </c:pt>
                <c:pt idx="3">
                  <c:v>16.311919606567258</c:v>
                </c:pt>
                <c:pt idx="4">
                  <c:v>12.556079007419349</c:v>
                </c:pt>
                <c:pt idx="5">
                  <c:v>10.72564547788272</c:v>
                </c:pt>
                <c:pt idx="6">
                  <c:v>15.80322480851282</c:v>
                </c:pt>
                <c:pt idx="7">
                  <c:v>12.223812464762119</c:v>
                </c:pt>
                <c:pt idx="8">
                  <c:v>16.956508939081051</c:v>
                </c:pt>
                <c:pt idx="9">
                  <c:v>14.827460486199559</c:v>
                </c:pt>
                <c:pt idx="10">
                  <c:v>16.63768641654891</c:v>
                </c:pt>
                <c:pt idx="11">
                  <c:v>12.34518631124142</c:v>
                </c:pt>
                <c:pt idx="12">
                  <c:v>11.131358440710541</c:v>
                </c:pt>
                <c:pt idx="13">
                  <c:v>10.005317457863219</c:v>
                </c:pt>
                <c:pt idx="14">
                  <c:v>15.281214141905419</c:v>
                </c:pt>
                <c:pt idx="15">
                  <c:v>14.94205254639586</c:v>
                </c:pt>
                <c:pt idx="16">
                  <c:v>15.638975515925059</c:v>
                </c:pt>
                <c:pt idx="17">
                  <c:v>10.2899191091535</c:v>
                </c:pt>
              </c:numCache>
            </c:numRef>
          </c:yVal>
          <c:smooth val="0"/>
        </c:ser>
        <c:ser>
          <c:idx val="3"/>
          <c:order val="3"/>
          <c:marker>
            <c:symbol val="none"/>
          </c:marker>
          <c:xVal>
            <c:numRef>
              <c:f>Feuil1!$C$7:$C$8</c:f>
              <c:numCache>
                <c:formatCode>General</c:formatCode>
                <c:ptCount val="2"/>
                <c:pt idx="0">
                  <c:v>2</c:v>
                </c:pt>
                <c:pt idx="1">
                  <c:v>19</c:v>
                </c:pt>
              </c:numCache>
            </c:numRef>
          </c:xVal>
          <c:yVal>
            <c:numRef>
              <c:f>Feuil1!$D$7:$D$8</c:f>
              <c:numCache>
                <c:formatCode>General</c:formatCode>
                <c:ptCount val="2"/>
                <c:pt idx="0">
                  <c:v>14.271006397446831</c:v>
                </c:pt>
                <c:pt idx="1">
                  <c:v>14.271006397446831</c:v>
                </c:pt>
              </c:numCache>
            </c:numRef>
          </c:yVal>
          <c:smooth val="0"/>
        </c:ser>
        <c:ser>
          <c:idx val="1"/>
          <c:order val="1"/>
          <c:spPr>
            <a:ln>
              <a:solidFill>
                <a:srgbClr val="C00000"/>
              </a:solidFill>
            </a:ln>
          </c:spPr>
          <c:marker>
            <c:symbol val="none"/>
          </c:marker>
          <c:xVal>
            <c:numRef>
              <c:f>Feuil1!$C$7:$C$8</c:f>
              <c:numCache>
                <c:formatCode>General</c:formatCode>
                <c:ptCount val="2"/>
                <c:pt idx="0">
                  <c:v>2</c:v>
                </c:pt>
                <c:pt idx="1">
                  <c:v>19</c:v>
                </c:pt>
              </c:numCache>
            </c:numRef>
          </c:xVal>
          <c:yVal>
            <c:numRef>
              <c:f>Feuil1!$D$7:$D$8</c:f>
              <c:numCache>
                <c:formatCode>General</c:formatCode>
                <c:ptCount val="2"/>
                <c:pt idx="0">
                  <c:v>14.271006397446831</c:v>
                </c:pt>
                <c:pt idx="1">
                  <c:v>14.27100639744683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3968240"/>
        <c:axId val="363971768"/>
      </c:scatterChart>
      <c:catAx>
        <c:axId val="36396824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2000"/>
                </a:pPr>
                <a:r>
                  <a:rPr lang="fr-CA" sz="1600" dirty="0" err="1" smtClean="0"/>
                  <a:t>Tijd</a:t>
                </a:r>
                <a:endParaRPr lang="fr-CA" sz="2000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one"/>
        <c:crossAx val="363971768"/>
        <c:crosses val="autoZero"/>
        <c:auto val="1"/>
        <c:lblAlgn val="ctr"/>
        <c:lblOffset val="100"/>
        <c:tickLblSkip val="1"/>
        <c:noMultiLvlLbl val="0"/>
      </c:catAx>
      <c:valAx>
        <c:axId val="363971768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/>
                </a:pPr>
                <a:r>
                  <a:rPr lang="fr-CA" sz="1600" dirty="0" smtClean="0"/>
                  <a:t>EUR</a:t>
                </a:r>
                <a:endParaRPr lang="fr-CA" sz="1600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one"/>
        <c:crossAx val="36396824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70844269466299"/>
          <c:y val="0.16203703703703701"/>
          <c:w val="0.86273600174978105"/>
          <c:h val="0.66011555847185799"/>
        </c:manualLayout>
      </c:layout>
      <c:scatterChart>
        <c:scatterStyle val="lineMarker"/>
        <c:varyColors val="0"/>
        <c:ser>
          <c:idx val="4"/>
          <c:order val="0"/>
          <c:spPr>
            <a:ln>
              <a:solidFill>
                <a:schemeClr val="accent1"/>
              </a:solidFill>
            </a:ln>
          </c:spPr>
          <c:marker>
            <c:symbol val="none"/>
          </c:marker>
          <c:xVal>
            <c:numRef>
              <c:f>Feuil1!$B$11:$B$28</c:f>
              <c:numCache>
                <c:formatCode>General</c:formatCode>
                <c:ptCount val="1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</c:numCache>
            </c:numRef>
          </c:xVal>
          <c:yVal>
            <c:numRef>
              <c:f>Feuil1!$E$11:$E$28</c:f>
              <c:numCache>
                <c:formatCode>General</c:formatCode>
                <c:ptCount val="18"/>
                <c:pt idx="0">
                  <c:v>14.271006397446831</c:v>
                </c:pt>
                <c:pt idx="1">
                  <c:v>14.271006397446831</c:v>
                </c:pt>
                <c:pt idx="2">
                  <c:v>14.271006397446831</c:v>
                </c:pt>
                <c:pt idx="3">
                  <c:v>14.271006397446831</c:v>
                </c:pt>
                <c:pt idx="4">
                  <c:v>12.556079007419349</c:v>
                </c:pt>
                <c:pt idx="5">
                  <c:v>10.72564547788272</c:v>
                </c:pt>
                <c:pt idx="6">
                  <c:v>14.271006397446831</c:v>
                </c:pt>
                <c:pt idx="7">
                  <c:v>12.223812464762119</c:v>
                </c:pt>
                <c:pt idx="8">
                  <c:v>14.271006397446831</c:v>
                </c:pt>
                <c:pt idx="9">
                  <c:v>14.271006397446831</c:v>
                </c:pt>
                <c:pt idx="10">
                  <c:v>14.271006397446831</c:v>
                </c:pt>
                <c:pt idx="11">
                  <c:v>12.34518631124142</c:v>
                </c:pt>
                <c:pt idx="12">
                  <c:v>11.131358440710541</c:v>
                </c:pt>
                <c:pt idx="13">
                  <c:v>10.005317457863219</c:v>
                </c:pt>
                <c:pt idx="14">
                  <c:v>14.271006397446831</c:v>
                </c:pt>
                <c:pt idx="15">
                  <c:v>14.271006397446831</c:v>
                </c:pt>
                <c:pt idx="16">
                  <c:v>14.271006397446831</c:v>
                </c:pt>
                <c:pt idx="17">
                  <c:v>10.2899191091535</c:v>
                </c:pt>
              </c:numCache>
            </c:numRef>
          </c:yVal>
          <c:smooth val="0"/>
        </c:ser>
        <c:ser>
          <c:idx val="0"/>
          <c:order val="1"/>
          <c:spPr>
            <a:ln w="15875">
              <a:prstDash val="dash"/>
            </a:ln>
          </c:spPr>
          <c:marker>
            <c:symbol val="none"/>
          </c:marker>
          <c:xVal>
            <c:numRef>
              <c:f>Feuil1!$B$11:$B$28</c:f>
              <c:numCache>
                <c:formatCode>General</c:formatCode>
                <c:ptCount val="1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</c:numCache>
            </c:numRef>
          </c:xVal>
          <c:yVal>
            <c:numRef>
              <c:f>Feuil1!$C$11:$C$28</c:f>
              <c:numCache>
                <c:formatCode>General</c:formatCode>
                <c:ptCount val="18"/>
                <c:pt idx="0">
                  <c:v>14.654372370835951</c:v>
                </c:pt>
                <c:pt idx="1">
                  <c:v>17.44556500445179</c:v>
                </c:pt>
                <c:pt idx="2">
                  <c:v>19.101817048586319</c:v>
                </c:pt>
                <c:pt idx="3">
                  <c:v>16.311919606567258</c:v>
                </c:pt>
                <c:pt idx="4">
                  <c:v>12.556079007419349</c:v>
                </c:pt>
                <c:pt idx="5">
                  <c:v>10.72564547788272</c:v>
                </c:pt>
                <c:pt idx="6">
                  <c:v>15.80322480851282</c:v>
                </c:pt>
                <c:pt idx="7">
                  <c:v>12.223812464762119</c:v>
                </c:pt>
                <c:pt idx="8">
                  <c:v>16.956508939081051</c:v>
                </c:pt>
                <c:pt idx="9">
                  <c:v>14.827460486199559</c:v>
                </c:pt>
                <c:pt idx="10">
                  <c:v>16.63768641654891</c:v>
                </c:pt>
                <c:pt idx="11">
                  <c:v>12.34518631124142</c:v>
                </c:pt>
                <c:pt idx="12">
                  <c:v>11.131358440710541</c:v>
                </c:pt>
                <c:pt idx="13">
                  <c:v>10.005317457863219</c:v>
                </c:pt>
                <c:pt idx="14">
                  <c:v>15.281214141905419</c:v>
                </c:pt>
                <c:pt idx="15">
                  <c:v>14.94205254639586</c:v>
                </c:pt>
                <c:pt idx="16">
                  <c:v>15.638975515925059</c:v>
                </c:pt>
                <c:pt idx="17">
                  <c:v>10.289919109153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3972160"/>
        <c:axId val="311279992"/>
      </c:scatterChart>
      <c:valAx>
        <c:axId val="36397216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2000"/>
                </a:pPr>
                <a:r>
                  <a:rPr lang="fr-CA" sz="1600" dirty="0" err="1" smtClean="0"/>
                  <a:t>Tijd</a:t>
                </a:r>
                <a:endParaRPr lang="fr-CA" sz="1600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one"/>
        <c:crossAx val="311279992"/>
        <c:crosses val="autoZero"/>
        <c:crossBetween val="midCat"/>
        <c:majorUnit val="1"/>
      </c:valAx>
      <c:valAx>
        <c:axId val="311279992"/>
        <c:scaling>
          <c:orientation val="minMax"/>
          <c:max val="25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2000"/>
                </a:pPr>
                <a:r>
                  <a:rPr lang="fr-CA" sz="1600" dirty="0" smtClean="0"/>
                  <a:t>EUR</a:t>
                </a:r>
                <a:endParaRPr lang="fr-CA" sz="2000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one"/>
        <c:crossAx val="363972160"/>
        <c:crosses val="autoZero"/>
        <c:crossBetween val="midCat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F23E4D-130D-B446-9A35-8911FD41EA61}" type="doc">
      <dgm:prSet loTypeId="urn:microsoft.com/office/officeart/2005/8/layout/radial4" loCatId="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64CA25A8-41D9-F14C-AD83-CBFF20876F5A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err="1" smtClean="0"/>
            <a:t>Reductie</a:t>
          </a:r>
          <a:endParaRPr lang="en-US" dirty="0" smtClean="0"/>
        </a:p>
        <a:p>
          <a:r>
            <a:rPr lang="en-US" dirty="0" smtClean="0"/>
            <a:t>Energie-</a:t>
          </a:r>
          <a:r>
            <a:rPr lang="en-US" dirty="0" err="1" smtClean="0"/>
            <a:t>kost</a:t>
          </a:r>
          <a:endParaRPr lang="en-US" dirty="0"/>
        </a:p>
      </dgm:t>
    </dgm:pt>
    <dgm:pt modelId="{D4EF38BF-FF27-4F44-8161-F08228C1070E}" type="parTrans" cxnId="{0882A95B-A038-9541-B99A-8E024F34C5F9}">
      <dgm:prSet/>
      <dgm:spPr/>
      <dgm:t>
        <a:bodyPr/>
        <a:lstStyle/>
        <a:p>
          <a:endParaRPr lang="en-US"/>
        </a:p>
      </dgm:t>
    </dgm:pt>
    <dgm:pt modelId="{B5AF756D-BE9C-FA46-8895-71424B3A8347}" type="sibTrans" cxnId="{0882A95B-A038-9541-B99A-8E024F34C5F9}">
      <dgm:prSet/>
      <dgm:spPr/>
      <dgm:t>
        <a:bodyPr/>
        <a:lstStyle/>
        <a:p>
          <a:endParaRPr lang="en-US"/>
        </a:p>
      </dgm:t>
    </dgm:pt>
    <dgm:pt modelId="{E34C620B-E966-D64B-99B5-23996E2B60C6}">
      <dgm:prSet phldrT="[Text]"/>
      <dgm:spPr/>
      <dgm:t>
        <a:bodyPr/>
        <a:lstStyle/>
        <a:p>
          <a:endParaRPr lang="en-US"/>
        </a:p>
      </dgm:t>
    </dgm:pt>
    <dgm:pt modelId="{4763C7F3-3397-D44F-B4A1-2FE1680FA4BA}" type="parTrans" cxnId="{431F04C5-F883-C343-B34D-13B1DBB9CFA7}">
      <dgm:prSet/>
      <dgm:spPr/>
      <dgm:t>
        <a:bodyPr/>
        <a:lstStyle/>
        <a:p>
          <a:endParaRPr lang="en-US"/>
        </a:p>
      </dgm:t>
    </dgm:pt>
    <dgm:pt modelId="{8FC46967-1897-184A-A16D-FDCF201CF9C3}" type="sibTrans" cxnId="{431F04C5-F883-C343-B34D-13B1DBB9CFA7}">
      <dgm:prSet/>
      <dgm:spPr/>
      <dgm:t>
        <a:bodyPr/>
        <a:lstStyle/>
        <a:p>
          <a:endParaRPr lang="en-US"/>
        </a:p>
      </dgm:t>
    </dgm:pt>
    <dgm:pt modelId="{0509EF53-B2A4-C94F-9810-0ED5DB186C1D}">
      <dgm:prSet phldrT="[Text]"/>
      <dgm:spPr/>
      <dgm:t>
        <a:bodyPr/>
        <a:lstStyle/>
        <a:p>
          <a:endParaRPr lang="en-US"/>
        </a:p>
      </dgm:t>
    </dgm:pt>
    <dgm:pt modelId="{3BC4F5A1-F046-3248-ABB2-7F3352273E8C}" type="parTrans" cxnId="{33C19FCC-A29A-F840-87B1-089694C222ED}">
      <dgm:prSet/>
      <dgm:spPr/>
      <dgm:t>
        <a:bodyPr/>
        <a:lstStyle/>
        <a:p>
          <a:endParaRPr lang="en-US"/>
        </a:p>
      </dgm:t>
    </dgm:pt>
    <dgm:pt modelId="{A0103EC2-FBEA-D541-88B6-611AC94E8783}" type="sibTrans" cxnId="{33C19FCC-A29A-F840-87B1-089694C222ED}">
      <dgm:prSet/>
      <dgm:spPr/>
      <dgm:t>
        <a:bodyPr/>
        <a:lstStyle/>
        <a:p>
          <a:endParaRPr lang="en-US"/>
        </a:p>
      </dgm:t>
    </dgm:pt>
    <dgm:pt modelId="{8DEA6D3B-66B5-2648-B370-24B551381D52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err="1" smtClean="0"/>
            <a:t>Aankoop</a:t>
          </a:r>
          <a:endParaRPr lang="en-US" dirty="0"/>
        </a:p>
      </dgm:t>
    </dgm:pt>
    <dgm:pt modelId="{E348D0E7-63E9-2D45-A351-0852820A98C2}" type="parTrans" cxnId="{7436ACDB-611B-BA48-B085-D3731A60376D}">
      <dgm:prSet/>
      <dgm:spPr>
        <a:solidFill>
          <a:srgbClr val="8EC02F"/>
        </a:solidFill>
      </dgm:spPr>
      <dgm:t>
        <a:bodyPr/>
        <a:lstStyle/>
        <a:p>
          <a:endParaRPr lang="en-US"/>
        </a:p>
      </dgm:t>
    </dgm:pt>
    <dgm:pt modelId="{C1BFF3A1-8811-564A-9FE9-FBA658460E56}" type="sibTrans" cxnId="{7436ACDB-611B-BA48-B085-D3731A60376D}">
      <dgm:prSet/>
      <dgm:spPr/>
      <dgm:t>
        <a:bodyPr/>
        <a:lstStyle/>
        <a:p>
          <a:endParaRPr lang="en-US"/>
        </a:p>
      </dgm:t>
    </dgm:pt>
    <dgm:pt modelId="{17C13E57-B0B6-B24B-91BC-B3D1745AA155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err="1" smtClean="0"/>
            <a:t>Investeringen</a:t>
          </a:r>
          <a:endParaRPr lang="en-US" dirty="0"/>
        </a:p>
      </dgm:t>
    </dgm:pt>
    <dgm:pt modelId="{64F4BB9D-A8D2-4D42-BAC5-28C42507BA26}" type="parTrans" cxnId="{04A61956-700F-BC40-85F0-C759C26E2AE4}">
      <dgm:prSet/>
      <dgm:spPr>
        <a:solidFill>
          <a:srgbClr val="8EC02F"/>
        </a:solidFill>
      </dgm:spPr>
      <dgm:t>
        <a:bodyPr/>
        <a:lstStyle/>
        <a:p>
          <a:endParaRPr lang="en-US"/>
        </a:p>
      </dgm:t>
    </dgm:pt>
    <dgm:pt modelId="{F1EA060C-D18C-E341-9267-255906974BD2}" type="sibTrans" cxnId="{04A61956-700F-BC40-85F0-C759C26E2AE4}">
      <dgm:prSet/>
      <dgm:spPr/>
      <dgm:t>
        <a:bodyPr/>
        <a:lstStyle/>
        <a:p>
          <a:endParaRPr lang="en-US"/>
        </a:p>
      </dgm:t>
    </dgm:pt>
    <dgm:pt modelId="{1C838352-5FB7-AD47-9212-C80AC12B5BC1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err="1" smtClean="0"/>
            <a:t>Operationeel</a:t>
          </a:r>
          <a:endParaRPr lang="en-US" dirty="0"/>
        </a:p>
      </dgm:t>
    </dgm:pt>
    <dgm:pt modelId="{C4679038-52A9-EB4E-83B3-F3F9D7CCA405}" type="parTrans" cxnId="{8543E0FF-2BFB-0F41-BC3C-DB6050735721}">
      <dgm:prSet/>
      <dgm:spPr>
        <a:solidFill>
          <a:srgbClr val="8EC02F"/>
        </a:solidFill>
      </dgm:spPr>
      <dgm:t>
        <a:bodyPr/>
        <a:lstStyle/>
        <a:p>
          <a:endParaRPr lang="en-US"/>
        </a:p>
      </dgm:t>
    </dgm:pt>
    <dgm:pt modelId="{D85D916D-1461-654A-9D9E-7F60997E66BB}" type="sibTrans" cxnId="{8543E0FF-2BFB-0F41-BC3C-DB6050735721}">
      <dgm:prSet/>
      <dgm:spPr/>
      <dgm:t>
        <a:bodyPr/>
        <a:lstStyle/>
        <a:p>
          <a:endParaRPr lang="en-US"/>
        </a:p>
      </dgm:t>
    </dgm:pt>
    <dgm:pt modelId="{99F2D74C-6A02-4E46-8364-51DB6C4723F9}" type="pres">
      <dgm:prSet presAssocID="{B1F23E4D-130D-B446-9A35-8911FD41EA61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B08164E-91EC-4E4C-8EF8-26539EDE1F6A}" type="pres">
      <dgm:prSet presAssocID="{64CA25A8-41D9-F14C-AD83-CBFF20876F5A}" presName="centerShape" presStyleLbl="node0" presStyleIdx="0" presStyleCnt="1"/>
      <dgm:spPr/>
      <dgm:t>
        <a:bodyPr/>
        <a:lstStyle/>
        <a:p>
          <a:endParaRPr lang="en-US"/>
        </a:p>
      </dgm:t>
    </dgm:pt>
    <dgm:pt modelId="{F6860671-C10A-6D4C-99DA-681E443A30FA}" type="pres">
      <dgm:prSet presAssocID="{E348D0E7-63E9-2D45-A351-0852820A98C2}" presName="parTrans" presStyleLbl="bgSibTrans2D1" presStyleIdx="0" presStyleCnt="3"/>
      <dgm:spPr/>
      <dgm:t>
        <a:bodyPr/>
        <a:lstStyle/>
        <a:p>
          <a:endParaRPr lang="en-US"/>
        </a:p>
      </dgm:t>
    </dgm:pt>
    <dgm:pt modelId="{B6EEA6F5-3013-3D46-87E0-31A534FDDA1B}" type="pres">
      <dgm:prSet presAssocID="{8DEA6D3B-66B5-2648-B370-24B551381D52}" presName="node" presStyleLbl="node1" presStyleIdx="0" presStyleCnt="3" custScaleY="416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DB2B32-6AC2-FD41-92C4-FDF6DC9F21F2}" type="pres">
      <dgm:prSet presAssocID="{64F4BB9D-A8D2-4D42-BAC5-28C42507BA26}" presName="parTrans" presStyleLbl="bgSibTrans2D1" presStyleIdx="1" presStyleCnt="3"/>
      <dgm:spPr/>
      <dgm:t>
        <a:bodyPr/>
        <a:lstStyle/>
        <a:p>
          <a:endParaRPr lang="en-US"/>
        </a:p>
      </dgm:t>
    </dgm:pt>
    <dgm:pt modelId="{A422ADDC-A666-7043-B4EC-93E55CA513BA}" type="pres">
      <dgm:prSet presAssocID="{17C13E57-B0B6-B24B-91BC-B3D1745AA155}" presName="node" presStyleLbl="node1" presStyleIdx="1" presStyleCnt="3" custScaleY="416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AE5718-7201-4640-92AB-BE81FD1D32A2}" type="pres">
      <dgm:prSet presAssocID="{C4679038-52A9-EB4E-83B3-F3F9D7CCA405}" presName="parTrans" presStyleLbl="bgSibTrans2D1" presStyleIdx="2" presStyleCnt="3"/>
      <dgm:spPr/>
      <dgm:t>
        <a:bodyPr/>
        <a:lstStyle/>
        <a:p>
          <a:endParaRPr lang="en-US"/>
        </a:p>
      </dgm:t>
    </dgm:pt>
    <dgm:pt modelId="{A24C15A3-1FC5-5C4F-9EDB-C482711FF606}" type="pres">
      <dgm:prSet presAssocID="{1C838352-5FB7-AD47-9212-C80AC12B5BC1}" presName="node" presStyleLbl="node1" presStyleIdx="2" presStyleCnt="3" custScaleY="41632" custRadScaleRad="99291" custRadScaleInc="-67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543E0FF-2BFB-0F41-BC3C-DB6050735721}" srcId="{64CA25A8-41D9-F14C-AD83-CBFF20876F5A}" destId="{1C838352-5FB7-AD47-9212-C80AC12B5BC1}" srcOrd="2" destOrd="0" parTransId="{C4679038-52A9-EB4E-83B3-F3F9D7CCA405}" sibTransId="{D85D916D-1461-654A-9D9E-7F60997E66BB}"/>
    <dgm:cxn modelId="{C4B41F34-7E00-4E36-B34E-74E6FED9AA82}" type="presOf" srcId="{1C838352-5FB7-AD47-9212-C80AC12B5BC1}" destId="{A24C15A3-1FC5-5C4F-9EDB-C482711FF606}" srcOrd="0" destOrd="0" presId="urn:microsoft.com/office/officeart/2005/8/layout/radial4"/>
    <dgm:cxn modelId="{40A9B724-BDA5-45AC-9CD3-4A2C634EAE9C}" type="presOf" srcId="{64F4BB9D-A8D2-4D42-BAC5-28C42507BA26}" destId="{B2DB2B32-6AC2-FD41-92C4-FDF6DC9F21F2}" srcOrd="0" destOrd="0" presId="urn:microsoft.com/office/officeart/2005/8/layout/radial4"/>
    <dgm:cxn modelId="{A374E464-01BD-4E4A-B4A8-5DA46651384D}" type="presOf" srcId="{E348D0E7-63E9-2D45-A351-0852820A98C2}" destId="{F6860671-C10A-6D4C-99DA-681E443A30FA}" srcOrd="0" destOrd="0" presId="urn:microsoft.com/office/officeart/2005/8/layout/radial4"/>
    <dgm:cxn modelId="{07724084-CE7A-4F48-9077-5746FE9F16FA}" type="presOf" srcId="{64CA25A8-41D9-F14C-AD83-CBFF20876F5A}" destId="{AB08164E-91EC-4E4C-8EF8-26539EDE1F6A}" srcOrd="0" destOrd="0" presId="urn:microsoft.com/office/officeart/2005/8/layout/radial4"/>
    <dgm:cxn modelId="{6692804C-CA5E-468F-A497-CF59448FD797}" type="presOf" srcId="{B1F23E4D-130D-B446-9A35-8911FD41EA61}" destId="{99F2D74C-6A02-4E46-8364-51DB6C4723F9}" srcOrd="0" destOrd="0" presId="urn:microsoft.com/office/officeart/2005/8/layout/radial4"/>
    <dgm:cxn modelId="{C19E0F13-3A69-4029-A663-912CE3581387}" type="presOf" srcId="{17C13E57-B0B6-B24B-91BC-B3D1745AA155}" destId="{A422ADDC-A666-7043-B4EC-93E55CA513BA}" srcOrd="0" destOrd="0" presId="urn:microsoft.com/office/officeart/2005/8/layout/radial4"/>
    <dgm:cxn modelId="{04A61956-700F-BC40-85F0-C759C26E2AE4}" srcId="{64CA25A8-41D9-F14C-AD83-CBFF20876F5A}" destId="{17C13E57-B0B6-B24B-91BC-B3D1745AA155}" srcOrd="1" destOrd="0" parTransId="{64F4BB9D-A8D2-4D42-BAC5-28C42507BA26}" sibTransId="{F1EA060C-D18C-E341-9267-255906974BD2}"/>
    <dgm:cxn modelId="{7436ACDB-611B-BA48-B085-D3731A60376D}" srcId="{64CA25A8-41D9-F14C-AD83-CBFF20876F5A}" destId="{8DEA6D3B-66B5-2648-B370-24B551381D52}" srcOrd="0" destOrd="0" parTransId="{E348D0E7-63E9-2D45-A351-0852820A98C2}" sibTransId="{C1BFF3A1-8811-564A-9FE9-FBA658460E56}"/>
    <dgm:cxn modelId="{431F04C5-F883-C343-B34D-13B1DBB9CFA7}" srcId="{B1F23E4D-130D-B446-9A35-8911FD41EA61}" destId="{E34C620B-E966-D64B-99B5-23996E2B60C6}" srcOrd="2" destOrd="0" parTransId="{4763C7F3-3397-D44F-B4A1-2FE1680FA4BA}" sibTransId="{8FC46967-1897-184A-A16D-FDCF201CF9C3}"/>
    <dgm:cxn modelId="{7870DBD3-7020-4F29-BE57-72B086B29C8A}" type="presOf" srcId="{8DEA6D3B-66B5-2648-B370-24B551381D52}" destId="{B6EEA6F5-3013-3D46-87E0-31A534FDDA1B}" srcOrd="0" destOrd="0" presId="urn:microsoft.com/office/officeart/2005/8/layout/radial4"/>
    <dgm:cxn modelId="{33C19FCC-A29A-F840-87B1-089694C222ED}" srcId="{B1F23E4D-130D-B446-9A35-8911FD41EA61}" destId="{0509EF53-B2A4-C94F-9810-0ED5DB186C1D}" srcOrd="1" destOrd="0" parTransId="{3BC4F5A1-F046-3248-ABB2-7F3352273E8C}" sibTransId="{A0103EC2-FBEA-D541-88B6-611AC94E8783}"/>
    <dgm:cxn modelId="{091529EC-945A-4834-9D41-A5FE8A26B123}" type="presOf" srcId="{C4679038-52A9-EB4E-83B3-F3F9D7CCA405}" destId="{92AE5718-7201-4640-92AB-BE81FD1D32A2}" srcOrd="0" destOrd="0" presId="urn:microsoft.com/office/officeart/2005/8/layout/radial4"/>
    <dgm:cxn modelId="{0882A95B-A038-9541-B99A-8E024F34C5F9}" srcId="{B1F23E4D-130D-B446-9A35-8911FD41EA61}" destId="{64CA25A8-41D9-F14C-AD83-CBFF20876F5A}" srcOrd="0" destOrd="0" parTransId="{D4EF38BF-FF27-4F44-8161-F08228C1070E}" sibTransId="{B5AF756D-BE9C-FA46-8895-71424B3A8347}"/>
    <dgm:cxn modelId="{90D79D97-FD09-42EB-8C61-0BB15E870C6E}" type="presParOf" srcId="{99F2D74C-6A02-4E46-8364-51DB6C4723F9}" destId="{AB08164E-91EC-4E4C-8EF8-26539EDE1F6A}" srcOrd="0" destOrd="0" presId="urn:microsoft.com/office/officeart/2005/8/layout/radial4"/>
    <dgm:cxn modelId="{B355A587-73A2-4A2A-BF6B-83530CEF4E74}" type="presParOf" srcId="{99F2D74C-6A02-4E46-8364-51DB6C4723F9}" destId="{F6860671-C10A-6D4C-99DA-681E443A30FA}" srcOrd="1" destOrd="0" presId="urn:microsoft.com/office/officeart/2005/8/layout/radial4"/>
    <dgm:cxn modelId="{419459BB-2F23-4791-8392-666768D9B696}" type="presParOf" srcId="{99F2D74C-6A02-4E46-8364-51DB6C4723F9}" destId="{B6EEA6F5-3013-3D46-87E0-31A534FDDA1B}" srcOrd="2" destOrd="0" presId="urn:microsoft.com/office/officeart/2005/8/layout/radial4"/>
    <dgm:cxn modelId="{9A55A5EB-3506-4CE3-9B34-5334067B8B13}" type="presParOf" srcId="{99F2D74C-6A02-4E46-8364-51DB6C4723F9}" destId="{B2DB2B32-6AC2-FD41-92C4-FDF6DC9F21F2}" srcOrd="3" destOrd="0" presId="urn:microsoft.com/office/officeart/2005/8/layout/radial4"/>
    <dgm:cxn modelId="{F2E9853A-16E9-4551-A6C6-697F6EAEECFE}" type="presParOf" srcId="{99F2D74C-6A02-4E46-8364-51DB6C4723F9}" destId="{A422ADDC-A666-7043-B4EC-93E55CA513BA}" srcOrd="4" destOrd="0" presId="urn:microsoft.com/office/officeart/2005/8/layout/radial4"/>
    <dgm:cxn modelId="{542B9E0C-1D13-4FF1-BAF4-EEA79C78A929}" type="presParOf" srcId="{99F2D74C-6A02-4E46-8364-51DB6C4723F9}" destId="{92AE5718-7201-4640-92AB-BE81FD1D32A2}" srcOrd="5" destOrd="0" presId="urn:microsoft.com/office/officeart/2005/8/layout/radial4"/>
    <dgm:cxn modelId="{F5700119-F6CA-4DAE-9018-BBE60B6D9502}" type="presParOf" srcId="{99F2D74C-6A02-4E46-8364-51DB6C4723F9}" destId="{A24C15A3-1FC5-5C4F-9EDB-C482711FF606}" srcOrd="6" destOrd="0" presId="urn:microsoft.com/office/officeart/2005/8/layout/radial4"/>
  </dgm:cxnLst>
  <dgm:bg/>
  <dgm:whole>
    <a:ln w="38100" cmpd="sng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-</a:t>
          </a:r>
          <a:r>
            <a:rPr lang="en-GB" sz="1400" b="1" noProof="0" dirty="0" err="1" smtClean="0"/>
            <a:t>l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5524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CE810613-5CB6-459C-AE2B-055786A3E8B3}" type="presOf" srcId="{7C199027-1063-498C-BB99-9FA2675558DF}" destId="{3A2948AC-8449-4A60-A4DA-3C870472F676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FE3A102E-CBEB-4E49-B30E-08113D462955}" type="presOf" srcId="{D975BD1E-6575-4B4E-BBA3-A2D1DACF1963}" destId="{5DBBB54C-4C5C-422F-BE37-71270213C408}" srcOrd="0" destOrd="0" presId="urn:microsoft.com/office/officeart/2005/8/layout/hChevron3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6E9C5E38-8B3F-4B9C-9F40-EAE8229921BF}" type="presOf" srcId="{DFDB99B7-47FC-430D-9BEF-A0040781E1F4}" destId="{0A67CC49-5030-4FFF-81A9-4EFA003F6B4E}" srcOrd="0" destOrd="0" presId="urn:microsoft.com/office/officeart/2005/8/layout/hChevron3"/>
    <dgm:cxn modelId="{ADDC6ACD-8A23-48EC-89CB-5630904C65AE}" type="presOf" srcId="{6CF6E163-68F9-42F4-89E9-373E1035A239}" destId="{5EF59913-DB1A-4C1B-9E88-C21503965DF7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E95997E4-6CB4-424B-B024-F43D6A1C928B}" type="presOf" srcId="{66786007-6037-4CE6-A51C-05FC76FF82D0}" destId="{062B82BB-9264-4BB3-AAA5-081B6E78A7D0}" srcOrd="0" destOrd="0" presId="urn:microsoft.com/office/officeart/2005/8/layout/hChevron3"/>
    <dgm:cxn modelId="{85E6CC81-61A3-4995-BF23-848026809AF5}" type="presOf" srcId="{AC9FC650-12AE-4225-A2A4-727DA87A1D19}" destId="{DE04C892-9986-4C11-8E82-93F285815BAD}" srcOrd="0" destOrd="0" presId="urn:microsoft.com/office/officeart/2005/8/layout/hChevron3"/>
    <dgm:cxn modelId="{3119E028-FBD4-48B2-8859-7C19BAE54CCF}" type="presOf" srcId="{A6B5D113-7F3C-4C6C-A72C-DDB921C949C9}" destId="{557A5E4A-F1F5-4749-B988-E763089FCFBE}" srcOrd="0" destOrd="0" presId="urn:microsoft.com/office/officeart/2005/8/layout/hChevron3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97489C4A-F2D1-4C97-8996-8A55E0B50F8E}" type="presParOf" srcId="{062B82BB-9264-4BB3-AAA5-081B6E78A7D0}" destId="{0A67CC49-5030-4FFF-81A9-4EFA003F6B4E}" srcOrd="0" destOrd="0" presId="urn:microsoft.com/office/officeart/2005/8/layout/hChevron3"/>
    <dgm:cxn modelId="{C7E3BEF7-7A10-46ED-B3D2-09BBD2764A4A}" type="presParOf" srcId="{062B82BB-9264-4BB3-AAA5-081B6E78A7D0}" destId="{53CEB83C-295A-4950-8109-56EE269D6D57}" srcOrd="1" destOrd="0" presId="urn:microsoft.com/office/officeart/2005/8/layout/hChevron3"/>
    <dgm:cxn modelId="{A48EB99C-A805-4161-8810-1CD32567DE87}" type="presParOf" srcId="{062B82BB-9264-4BB3-AAA5-081B6E78A7D0}" destId="{5EF59913-DB1A-4C1B-9E88-C21503965DF7}" srcOrd="2" destOrd="0" presId="urn:microsoft.com/office/officeart/2005/8/layout/hChevron3"/>
    <dgm:cxn modelId="{1199A037-21D5-459A-9D28-7DF8B623EDEA}" type="presParOf" srcId="{062B82BB-9264-4BB3-AAA5-081B6E78A7D0}" destId="{D0CE9A0C-C1D6-4A8B-9617-A220472D6F88}" srcOrd="3" destOrd="0" presId="urn:microsoft.com/office/officeart/2005/8/layout/hChevron3"/>
    <dgm:cxn modelId="{6A95E698-4449-42E1-89A2-775AEBB10C86}" type="presParOf" srcId="{062B82BB-9264-4BB3-AAA5-081B6E78A7D0}" destId="{DE04C892-9986-4C11-8E82-93F285815BAD}" srcOrd="4" destOrd="0" presId="urn:microsoft.com/office/officeart/2005/8/layout/hChevron3"/>
    <dgm:cxn modelId="{E1EE8A2A-E46A-4F32-862B-85423D8372E8}" type="presParOf" srcId="{062B82BB-9264-4BB3-AAA5-081B6E78A7D0}" destId="{CB63BD15-021D-40AB-930F-8029DE744502}" srcOrd="5" destOrd="0" presId="urn:microsoft.com/office/officeart/2005/8/layout/hChevron3"/>
    <dgm:cxn modelId="{58E0C455-E765-4680-BE79-5219824A3F63}" type="presParOf" srcId="{062B82BB-9264-4BB3-AAA5-081B6E78A7D0}" destId="{5DBBB54C-4C5C-422F-BE37-71270213C408}" srcOrd="6" destOrd="0" presId="urn:microsoft.com/office/officeart/2005/8/layout/hChevron3"/>
    <dgm:cxn modelId="{D12E611B-D4B4-49E4-BEE4-38D9C68EE2EB}" type="presParOf" srcId="{062B82BB-9264-4BB3-AAA5-081B6E78A7D0}" destId="{8A383658-2EBF-45AC-9C3A-45E6A9B769D0}" srcOrd="7" destOrd="0" presId="urn:microsoft.com/office/officeart/2005/8/layout/hChevron3"/>
    <dgm:cxn modelId="{04A51B61-6F3F-41CF-B70C-5EC3F0F1286A}" type="presParOf" srcId="{062B82BB-9264-4BB3-AAA5-081B6E78A7D0}" destId="{557A5E4A-F1F5-4749-B988-E763089FCFBE}" srcOrd="8" destOrd="0" presId="urn:microsoft.com/office/officeart/2005/8/layout/hChevron3"/>
    <dgm:cxn modelId="{175EC7E7-14FF-40BC-9E9F-0C3458EE7FCF}" type="presParOf" srcId="{062B82BB-9264-4BB3-AAA5-081B6E78A7D0}" destId="{6633CB3B-0208-4BF6-83D6-4DDE2CC08617}" srcOrd="9" destOrd="0" presId="urn:microsoft.com/office/officeart/2005/8/layout/hChevron3"/>
    <dgm:cxn modelId="{A09A98F3-C872-43A4-80F9-9C17B9076D76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Model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 custScaleX="116655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0787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6E8C8A7D-0E0C-434C-94E7-CCDC9522C8ED}" type="presOf" srcId="{6CF6E163-68F9-42F4-89E9-373E1035A239}" destId="{5EF59913-DB1A-4C1B-9E88-C21503965DF7}" srcOrd="0" destOrd="0" presId="urn:microsoft.com/office/officeart/2005/8/layout/hChevron3"/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E8A62931-3E37-4841-B14C-F64851704F90}" type="presOf" srcId="{7C199027-1063-498C-BB99-9FA2675558DF}" destId="{3A2948AC-8449-4A60-A4DA-3C870472F676}" srcOrd="0" destOrd="0" presId="urn:microsoft.com/office/officeart/2005/8/layout/hChevron3"/>
    <dgm:cxn modelId="{E4AB093F-7840-4502-8AC5-E3416E70264F}" type="presOf" srcId="{A6B5D113-7F3C-4C6C-A72C-DDB921C949C9}" destId="{557A5E4A-F1F5-4749-B988-E763089FCFBE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22BB8F0D-E46E-4088-A212-9F0455CA90FA}" type="presOf" srcId="{D975BD1E-6575-4B4E-BBA3-A2D1DACF1963}" destId="{5DBBB54C-4C5C-422F-BE37-71270213C408}" srcOrd="0" destOrd="0" presId="urn:microsoft.com/office/officeart/2005/8/layout/hChevron3"/>
    <dgm:cxn modelId="{8143F9AF-279B-4AC0-9EE7-7B2489DE608D}" type="presOf" srcId="{66786007-6037-4CE6-A51C-05FC76FF82D0}" destId="{062B82BB-9264-4BB3-AAA5-081B6E78A7D0}" srcOrd="0" destOrd="0" presId="urn:microsoft.com/office/officeart/2005/8/layout/hChevron3"/>
    <dgm:cxn modelId="{99FE5D7D-B308-4E6E-B70A-EEF875088337}" type="presOf" srcId="{AC9FC650-12AE-4225-A2A4-727DA87A1D19}" destId="{DE04C892-9986-4C11-8E82-93F285815BAD}" srcOrd="0" destOrd="0" presId="urn:microsoft.com/office/officeart/2005/8/layout/hChevron3"/>
    <dgm:cxn modelId="{4D8ABD5C-689F-453E-ADBA-D43E2EA8347E}" type="presOf" srcId="{DFDB99B7-47FC-430D-9BEF-A0040781E1F4}" destId="{0A67CC49-5030-4FFF-81A9-4EFA003F6B4E}" srcOrd="0" destOrd="0" presId="urn:microsoft.com/office/officeart/2005/8/layout/hChevron3"/>
    <dgm:cxn modelId="{E8AB54E6-8EBA-4780-9540-5C207C712011}" type="presParOf" srcId="{062B82BB-9264-4BB3-AAA5-081B6E78A7D0}" destId="{0A67CC49-5030-4FFF-81A9-4EFA003F6B4E}" srcOrd="0" destOrd="0" presId="urn:microsoft.com/office/officeart/2005/8/layout/hChevron3"/>
    <dgm:cxn modelId="{375819BE-50B3-4F68-82E0-CFF9E80D64B4}" type="presParOf" srcId="{062B82BB-9264-4BB3-AAA5-081B6E78A7D0}" destId="{53CEB83C-295A-4950-8109-56EE269D6D57}" srcOrd="1" destOrd="0" presId="urn:microsoft.com/office/officeart/2005/8/layout/hChevron3"/>
    <dgm:cxn modelId="{8CB3A9EF-F708-401B-9DB7-48254F15A2CE}" type="presParOf" srcId="{062B82BB-9264-4BB3-AAA5-081B6E78A7D0}" destId="{5EF59913-DB1A-4C1B-9E88-C21503965DF7}" srcOrd="2" destOrd="0" presId="urn:microsoft.com/office/officeart/2005/8/layout/hChevron3"/>
    <dgm:cxn modelId="{8D2085FE-96BA-420E-A82A-DB694CB37B69}" type="presParOf" srcId="{062B82BB-9264-4BB3-AAA5-081B6E78A7D0}" destId="{D0CE9A0C-C1D6-4A8B-9617-A220472D6F88}" srcOrd="3" destOrd="0" presId="urn:microsoft.com/office/officeart/2005/8/layout/hChevron3"/>
    <dgm:cxn modelId="{4919BD96-041E-4BA5-8BA8-231AD02225FE}" type="presParOf" srcId="{062B82BB-9264-4BB3-AAA5-081B6E78A7D0}" destId="{DE04C892-9986-4C11-8E82-93F285815BAD}" srcOrd="4" destOrd="0" presId="urn:microsoft.com/office/officeart/2005/8/layout/hChevron3"/>
    <dgm:cxn modelId="{1FF9CA0F-F38A-474B-8ED5-AC99A67F193E}" type="presParOf" srcId="{062B82BB-9264-4BB3-AAA5-081B6E78A7D0}" destId="{CB63BD15-021D-40AB-930F-8029DE744502}" srcOrd="5" destOrd="0" presId="urn:microsoft.com/office/officeart/2005/8/layout/hChevron3"/>
    <dgm:cxn modelId="{BB8A3CFA-04CD-4FD8-8259-1768929D9E93}" type="presParOf" srcId="{062B82BB-9264-4BB3-AAA5-081B6E78A7D0}" destId="{5DBBB54C-4C5C-422F-BE37-71270213C408}" srcOrd="6" destOrd="0" presId="urn:microsoft.com/office/officeart/2005/8/layout/hChevron3"/>
    <dgm:cxn modelId="{12B6BCBE-AD9C-4952-802F-0FB49CC6DC0E}" type="presParOf" srcId="{062B82BB-9264-4BB3-AAA5-081B6E78A7D0}" destId="{8A383658-2EBF-45AC-9C3A-45E6A9B769D0}" srcOrd="7" destOrd="0" presId="urn:microsoft.com/office/officeart/2005/8/layout/hChevron3"/>
    <dgm:cxn modelId="{15AE4A27-B6A2-492E-B87C-039B47553856}" type="presParOf" srcId="{062B82BB-9264-4BB3-AAA5-081B6E78A7D0}" destId="{557A5E4A-F1F5-4749-B988-E763089FCFBE}" srcOrd="8" destOrd="0" presId="urn:microsoft.com/office/officeart/2005/8/layout/hChevron3"/>
    <dgm:cxn modelId="{44226A72-900A-4F25-B80F-94F0F7EBAA50}" type="presParOf" srcId="{062B82BB-9264-4BB3-AAA5-081B6E78A7D0}" destId="{6633CB3B-0208-4BF6-83D6-4DDE2CC08617}" srcOrd="9" destOrd="0" presId="urn:microsoft.com/office/officeart/2005/8/layout/hChevron3"/>
    <dgm:cxn modelId="{9B321FF8-E5C2-466E-A71F-E3608F30F325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Implemen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5524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E5F79924-9E6B-43AF-A047-801C814C40A5}" type="presOf" srcId="{D975BD1E-6575-4B4E-BBA3-A2D1DACF1963}" destId="{5DBBB54C-4C5C-422F-BE37-71270213C408}" srcOrd="0" destOrd="0" presId="urn:microsoft.com/office/officeart/2005/8/layout/hChevron3"/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10494C26-A6BD-48CA-9DFF-1B1BED097390}" type="presOf" srcId="{6CF6E163-68F9-42F4-89E9-373E1035A239}" destId="{5EF59913-DB1A-4C1B-9E88-C21503965DF7}" srcOrd="0" destOrd="0" presId="urn:microsoft.com/office/officeart/2005/8/layout/hChevron3"/>
    <dgm:cxn modelId="{7DCA5012-F924-4D94-B353-47377112E909}" type="presOf" srcId="{7C199027-1063-498C-BB99-9FA2675558DF}" destId="{3A2948AC-8449-4A60-A4DA-3C870472F676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BAB7C4AF-2B81-44C8-BBAB-17F6E7D6EEAC}" type="presOf" srcId="{66786007-6037-4CE6-A51C-05FC76FF82D0}" destId="{062B82BB-9264-4BB3-AAA5-081B6E78A7D0}" srcOrd="0" destOrd="0" presId="urn:microsoft.com/office/officeart/2005/8/layout/hChevron3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101055D2-F1A8-49F3-A95C-E8D85F8F1107}" type="presOf" srcId="{DFDB99B7-47FC-430D-9BEF-A0040781E1F4}" destId="{0A67CC49-5030-4FFF-81A9-4EFA003F6B4E}" srcOrd="0" destOrd="0" presId="urn:microsoft.com/office/officeart/2005/8/layout/hChevron3"/>
    <dgm:cxn modelId="{6E42F1B0-9C24-4FF2-B090-8DA3F026653F}" type="presOf" srcId="{AC9FC650-12AE-4225-A2A4-727DA87A1D19}" destId="{DE04C892-9986-4C11-8E82-93F285815BAD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7AD09561-E5A8-4DA1-ABBA-3335BF78D249}" type="presOf" srcId="{A6B5D113-7F3C-4C6C-A72C-DDB921C949C9}" destId="{557A5E4A-F1F5-4749-B988-E763089FCFBE}" srcOrd="0" destOrd="0" presId="urn:microsoft.com/office/officeart/2005/8/layout/hChevron3"/>
    <dgm:cxn modelId="{5CB7B1AE-A353-4A92-92B9-0FFD07AE7AE6}" type="presParOf" srcId="{062B82BB-9264-4BB3-AAA5-081B6E78A7D0}" destId="{0A67CC49-5030-4FFF-81A9-4EFA003F6B4E}" srcOrd="0" destOrd="0" presId="urn:microsoft.com/office/officeart/2005/8/layout/hChevron3"/>
    <dgm:cxn modelId="{6B169A38-2012-4036-A1A9-BC13EA757D80}" type="presParOf" srcId="{062B82BB-9264-4BB3-AAA5-081B6E78A7D0}" destId="{53CEB83C-295A-4950-8109-56EE269D6D57}" srcOrd="1" destOrd="0" presId="urn:microsoft.com/office/officeart/2005/8/layout/hChevron3"/>
    <dgm:cxn modelId="{6E0E1CDC-9D1D-4E5A-8C4A-E82FFEE3E8B3}" type="presParOf" srcId="{062B82BB-9264-4BB3-AAA5-081B6E78A7D0}" destId="{5EF59913-DB1A-4C1B-9E88-C21503965DF7}" srcOrd="2" destOrd="0" presId="urn:microsoft.com/office/officeart/2005/8/layout/hChevron3"/>
    <dgm:cxn modelId="{75D8B511-5590-41A4-BD96-CFB2AC8482DB}" type="presParOf" srcId="{062B82BB-9264-4BB3-AAA5-081B6E78A7D0}" destId="{D0CE9A0C-C1D6-4A8B-9617-A220472D6F88}" srcOrd="3" destOrd="0" presId="urn:microsoft.com/office/officeart/2005/8/layout/hChevron3"/>
    <dgm:cxn modelId="{7D786F8D-7F87-4A66-946B-B181A259E00D}" type="presParOf" srcId="{062B82BB-9264-4BB3-AAA5-081B6E78A7D0}" destId="{DE04C892-9986-4C11-8E82-93F285815BAD}" srcOrd="4" destOrd="0" presId="urn:microsoft.com/office/officeart/2005/8/layout/hChevron3"/>
    <dgm:cxn modelId="{48D20592-3D70-44C6-89F7-A7FE151F382E}" type="presParOf" srcId="{062B82BB-9264-4BB3-AAA5-081B6E78A7D0}" destId="{CB63BD15-021D-40AB-930F-8029DE744502}" srcOrd="5" destOrd="0" presId="urn:microsoft.com/office/officeart/2005/8/layout/hChevron3"/>
    <dgm:cxn modelId="{96ED4FC1-C794-4FFF-A069-4C0C6C1BCEC0}" type="presParOf" srcId="{062B82BB-9264-4BB3-AAA5-081B6E78A7D0}" destId="{5DBBB54C-4C5C-422F-BE37-71270213C408}" srcOrd="6" destOrd="0" presId="urn:microsoft.com/office/officeart/2005/8/layout/hChevron3"/>
    <dgm:cxn modelId="{1AA0149F-2938-4319-B3D9-94A5FBAE7F8F}" type="presParOf" srcId="{062B82BB-9264-4BB3-AAA5-081B6E78A7D0}" destId="{8A383658-2EBF-45AC-9C3A-45E6A9B769D0}" srcOrd="7" destOrd="0" presId="urn:microsoft.com/office/officeart/2005/8/layout/hChevron3"/>
    <dgm:cxn modelId="{3266CE1D-83A2-4B66-88CE-16D6DF33A384}" type="presParOf" srcId="{062B82BB-9264-4BB3-AAA5-081B6E78A7D0}" destId="{557A5E4A-F1F5-4749-B988-E763089FCFBE}" srcOrd="8" destOrd="0" presId="urn:microsoft.com/office/officeart/2005/8/layout/hChevron3"/>
    <dgm:cxn modelId="{9F6DEB95-4C2B-4599-B45F-1BB2954CA9CE}" type="presParOf" srcId="{062B82BB-9264-4BB3-AAA5-081B6E78A7D0}" destId="{6633CB3B-0208-4BF6-83D6-4DDE2CC08617}" srcOrd="9" destOrd="0" presId="urn:microsoft.com/office/officeart/2005/8/layout/hChevron3"/>
    <dgm:cxn modelId="{AA836EEF-C517-4FD4-97BD-34D7E470E0AB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Implemen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22401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DC8DF70F-F4F8-4939-9AC9-5FED9D9B6762}" type="presOf" srcId="{DFDB99B7-47FC-430D-9BEF-A0040781E1F4}" destId="{0A67CC49-5030-4FFF-81A9-4EFA003F6B4E}" srcOrd="0" destOrd="0" presId="urn:microsoft.com/office/officeart/2005/8/layout/hChevron3"/>
    <dgm:cxn modelId="{C0F34ECE-E98F-4101-8338-4A4604787252}" type="presOf" srcId="{6CF6E163-68F9-42F4-89E9-373E1035A239}" destId="{5EF59913-DB1A-4C1B-9E88-C21503965DF7}" srcOrd="0" destOrd="0" presId="urn:microsoft.com/office/officeart/2005/8/layout/hChevron3"/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FC1344CB-D15E-4E94-ACFA-7F30F0C39D42}" type="presOf" srcId="{A6B5D113-7F3C-4C6C-A72C-DDB921C949C9}" destId="{557A5E4A-F1F5-4749-B988-E763089FCFBE}" srcOrd="0" destOrd="0" presId="urn:microsoft.com/office/officeart/2005/8/layout/hChevron3"/>
    <dgm:cxn modelId="{D7D5A233-8963-43B1-A505-20C95FA0F4AE}" type="presOf" srcId="{66786007-6037-4CE6-A51C-05FC76FF82D0}" destId="{062B82BB-9264-4BB3-AAA5-081B6E78A7D0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8959D8D9-01E3-419B-B12E-8DACAB64CC54}" type="presOf" srcId="{AC9FC650-12AE-4225-A2A4-727DA87A1D19}" destId="{DE04C892-9986-4C11-8E82-93F285815BAD}" srcOrd="0" destOrd="0" presId="urn:microsoft.com/office/officeart/2005/8/layout/hChevron3"/>
    <dgm:cxn modelId="{2A2DD209-D1C6-4B01-A1C7-70053D692630}" type="presOf" srcId="{7C199027-1063-498C-BB99-9FA2675558DF}" destId="{3A2948AC-8449-4A60-A4DA-3C870472F676}" srcOrd="0" destOrd="0" presId="urn:microsoft.com/office/officeart/2005/8/layout/hChevron3"/>
    <dgm:cxn modelId="{DE0F0836-0037-467C-8F09-33815FC40EC1}" type="presOf" srcId="{D975BD1E-6575-4B4E-BBA3-A2D1DACF1963}" destId="{5DBBB54C-4C5C-422F-BE37-71270213C408}" srcOrd="0" destOrd="0" presId="urn:microsoft.com/office/officeart/2005/8/layout/hChevron3"/>
    <dgm:cxn modelId="{31D16F2D-A4B6-4A68-8509-C1BAAD66CB89}" type="presParOf" srcId="{062B82BB-9264-4BB3-AAA5-081B6E78A7D0}" destId="{0A67CC49-5030-4FFF-81A9-4EFA003F6B4E}" srcOrd="0" destOrd="0" presId="urn:microsoft.com/office/officeart/2005/8/layout/hChevron3"/>
    <dgm:cxn modelId="{38C2CAB6-B1A2-4359-AF11-2DF66B4A36AE}" type="presParOf" srcId="{062B82BB-9264-4BB3-AAA5-081B6E78A7D0}" destId="{53CEB83C-295A-4950-8109-56EE269D6D57}" srcOrd="1" destOrd="0" presId="urn:microsoft.com/office/officeart/2005/8/layout/hChevron3"/>
    <dgm:cxn modelId="{9036AC04-4EAF-429E-8BC6-D1F6D58C79BF}" type="presParOf" srcId="{062B82BB-9264-4BB3-AAA5-081B6E78A7D0}" destId="{5EF59913-DB1A-4C1B-9E88-C21503965DF7}" srcOrd="2" destOrd="0" presId="urn:microsoft.com/office/officeart/2005/8/layout/hChevron3"/>
    <dgm:cxn modelId="{8F152A0C-9AA4-410C-98C3-0C3E539411AA}" type="presParOf" srcId="{062B82BB-9264-4BB3-AAA5-081B6E78A7D0}" destId="{D0CE9A0C-C1D6-4A8B-9617-A220472D6F88}" srcOrd="3" destOrd="0" presId="urn:microsoft.com/office/officeart/2005/8/layout/hChevron3"/>
    <dgm:cxn modelId="{0B195A51-630D-481D-9EB5-B1289B9DD9FB}" type="presParOf" srcId="{062B82BB-9264-4BB3-AAA5-081B6E78A7D0}" destId="{DE04C892-9986-4C11-8E82-93F285815BAD}" srcOrd="4" destOrd="0" presId="urn:microsoft.com/office/officeart/2005/8/layout/hChevron3"/>
    <dgm:cxn modelId="{B904E996-E0DB-414E-8167-4EC35D63281A}" type="presParOf" srcId="{062B82BB-9264-4BB3-AAA5-081B6E78A7D0}" destId="{CB63BD15-021D-40AB-930F-8029DE744502}" srcOrd="5" destOrd="0" presId="urn:microsoft.com/office/officeart/2005/8/layout/hChevron3"/>
    <dgm:cxn modelId="{2C5B1318-0D07-4158-80D6-DC837BBF93DF}" type="presParOf" srcId="{062B82BB-9264-4BB3-AAA5-081B6E78A7D0}" destId="{5DBBB54C-4C5C-422F-BE37-71270213C408}" srcOrd="6" destOrd="0" presId="urn:microsoft.com/office/officeart/2005/8/layout/hChevron3"/>
    <dgm:cxn modelId="{D221F707-307C-43ED-904B-4DC922394589}" type="presParOf" srcId="{062B82BB-9264-4BB3-AAA5-081B6E78A7D0}" destId="{8A383658-2EBF-45AC-9C3A-45E6A9B769D0}" srcOrd="7" destOrd="0" presId="urn:microsoft.com/office/officeart/2005/8/layout/hChevron3"/>
    <dgm:cxn modelId="{B905B303-9AF9-446B-9847-10C1DFA9261F}" type="presParOf" srcId="{062B82BB-9264-4BB3-AAA5-081B6E78A7D0}" destId="{557A5E4A-F1F5-4749-B988-E763089FCFBE}" srcOrd="8" destOrd="0" presId="urn:microsoft.com/office/officeart/2005/8/layout/hChevron3"/>
    <dgm:cxn modelId="{A2D7DA83-6D41-46E7-9122-5581E09E41F1}" type="presParOf" srcId="{062B82BB-9264-4BB3-AAA5-081B6E78A7D0}" destId="{6633CB3B-0208-4BF6-83D6-4DDE2CC08617}" srcOrd="9" destOrd="0" presId="urn:microsoft.com/office/officeart/2005/8/layout/hChevron3"/>
    <dgm:cxn modelId="{DEA9BFA2-1541-4B62-8FAB-9F66B782F35C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0988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9979296A-0F35-415E-919A-977AE69FC49C}" type="presOf" srcId="{DFDB99B7-47FC-430D-9BEF-A0040781E1F4}" destId="{0A67CC49-5030-4FFF-81A9-4EFA003F6B4E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22B281BB-28F3-40D7-9864-EAB2042FA0B2}" type="presOf" srcId="{7C199027-1063-498C-BB99-9FA2675558DF}" destId="{3A2948AC-8449-4A60-A4DA-3C870472F676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9061041C-9B4B-437F-952E-9925FA2611FE}" type="presOf" srcId="{6CF6E163-68F9-42F4-89E9-373E1035A239}" destId="{5EF59913-DB1A-4C1B-9E88-C21503965DF7}" srcOrd="0" destOrd="0" presId="urn:microsoft.com/office/officeart/2005/8/layout/hChevron3"/>
    <dgm:cxn modelId="{CCF98B55-D323-46F9-B379-BAFA5AC5CA4B}" type="presOf" srcId="{66786007-6037-4CE6-A51C-05FC76FF82D0}" destId="{062B82BB-9264-4BB3-AAA5-081B6E78A7D0}" srcOrd="0" destOrd="0" presId="urn:microsoft.com/office/officeart/2005/8/layout/hChevron3"/>
    <dgm:cxn modelId="{D8CF8120-D71E-45BA-B8B4-11C86C17B5CA}" type="presOf" srcId="{D975BD1E-6575-4B4E-BBA3-A2D1DACF1963}" destId="{5DBBB54C-4C5C-422F-BE37-71270213C408}" srcOrd="0" destOrd="0" presId="urn:microsoft.com/office/officeart/2005/8/layout/hChevron3"/>
    <dgm:cxn modelId="{07C33009-95AE-4E87-BCE8-61BC504A91F4}" type="presOf" srcId="{AC9FC650-12AE-4225-A2A4-727DA87A1D19}" destId="{DE04C892-9986-4C11-8E82-93F285815BAD}" srcOrd="0" destOrd="0" presId="urn:microsoft.com/office/officeart/2005/8/layout/hChevron3"/>
    <dgm:cxn modelId="{A3BF76D4-C414-4D53-8564-5E7E9EDEE80F}" type="presOf" srcId="{A6B5D113-7F3C-4C6C-A72C-DDB921C949C9}" destId="{557A5E4A-F1F5-4749-B988-E763089FCFBE}" srcOrd="0" destOrd="0" presId="urn:microsoft.com/office/officeart/2005/8/layout/hChevron3"/>
    <dgm:cxn modelId="{BB6559DD-CF41-4A8E-BF3B-3FAE4FC79672}" type="presParOf" srcId="{062B82BB-9264-4BB3-AAA5-081B6E78A7D0}" destId="{0A67CC49-5030-4FFF-81A9-4EFA003F6B4E}" srcOrd="0" destOrd="0" presId="urn:microsoft.com/office/officeart/2005/8/layout/hChevron3"/>
    <dgm:cxn modelId="{353BC748-7084-4BFA-A022-E39AF9EF0756}" type="presParOf" srcId="{062B82BB-9264-4BB3-AAA5-081B6E78A7D0}" destId="{53CEB83C-295A-4950-8109-56EE269D6D57}" srcOrd="1" destOrd="0" presId="urn:microsoft.com/office/officeart/2005/8/layout/hChevron3"/>
    <dgm:cxn modelId="{8C5376B7-048C-4316-9AA0-906820C580A2}" type="presParOf" srcId="{062B82BB-9264-4BB3-AAA5-081B6E78A7D0}" destId="{5EF59913-DB1A-4C1B-9E88-C21503965DF7}" srcOrd="2" destOrd="0" presId="urn:microsoft.com/office/officeart/2005/8/layout/hChevron3"/>
    <dgm:cxn modelId="{6E8DC73D-BB32-4737-87B9-1580E9DA0B1E}" type="presParOf" srcId="{062B82BB-9264-4BB3-AAA5-081B6E78A7D0}" destId="{D0CE9A0C-C1D6-4A8B-9617-A220472D6F88}" srcOrd="3" destOrd="0" presId="urn:microsoft.com/office/officeart/2005/8/layout/hChevron3"/>
    <dgm:cxn modelId="{2E6111C5-FD1E-4E53-8A7D-CE3E99543A18}" type="presParOf" srcId="{062B82BB-9264-4BB3-AAA5-081B6E78A7D0}" destId="{DE04C892-9986-4C11-8E82-93F285815BAD}" srcOrd="4" destOrd="0" presId="urn:microsoft.com/office/officeart/2005/8/layout/hChevron3"/>
    <dgm:cxn modelId="{C710EC52-64C2-42C9-BA74-D3BBBFBB8F49}" type="presParOf" srcId="{062B82BB-9264-4BB3-AAA5-081B6E78A7D0}" destId="{CB63BD15-021D-40AB-930F-8029DE744502}" srcOrd="5" destOrd="0" presId="urn:microsoft.com/office/officeart/2005/8/layout/hChevron3"/>
    <dgm:cxn modelId="{FA6E1FFD-E15F-468C-ABA1-C3D558A2BCB7}" type="presParOf" srcId="{062B82BB-9264-4BB3-AAA5-081B6E78A7D0}" destId="{5DBBB54C-4C5C-422F-BE37-71270213C408}" srcOrd="6" destOrd="0" presId="urn:microsoft.com/office/officeart/2005/8/layout/hChevron3"/>
    <dgm:cxn modelId="{C89DD400-A5BF-428E-9702-3AB8E270FB80}" type="presParOf" srcId="{062B82BB-9264-4BB3-AAA5-081B6E78A7D0}" destId="{8A383658-2EBF-45AC-9C3A-45E6A9B769D0}" srcOrd="7" destOrd="0" presId="urn:microsoft.com/office/officeart/2005/8/layout/hChevron3"/>
    <dgm:cxn modelId="{37A3F812-DCEB-42AE-AEBA-2D440D9D1B08}" type="presParOf" srcId="{062B82BB-9264-4BB3-AAA5-081B6E78A7D0}" destId="{557A5E4A-F1F5-4749-B988-E763089FCFBE}" srcOrd="8" destOrd="0" presId="urn:microsoft.com/office/officeart/2005/8/layout/hChevron3"/>
    <dgm:cxn modelId="{9706CBEF-C7D0-4968-9799-AD937A31CC42}" type="presParOf" srcId="{062B82BB-9264-4BB3-AAA5-081B6E78A7D0}" destId="{6633CB3B-0208-4BF6-83D6-4DDE2CC08617}" srcOrd="9" destOrd="0" presId="urn:microsoft.com/office/officeart/2005/8/layout/hChevron3"/>
    <dgm:cxn modelId="{4AEFC17A-3C36-4D16-A632-DD449EC46414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6838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6B8ED26E-4C36-44C5-904B-B600C8C1A340}" type="presOf" srcId="{A6B5D113-7F3C-4C6C-A72C-DDB921C949C9}" destId="{557A5E4A-F1F5-4749-B988-E763089FCFBE}" srcOrd="0" destOrd="0" presId="urn:microsoft.com/office/officeart/2005/8/layout/hChevron3"/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AE004E1B-2599-4F2D-9788-A321F3C9E018}" type="presOf" srcId="{7C199027-1063-498C-BB99-9FA2675558DF}" destId="{3A2948AC-8449-4A60-A4DA-3C870472F676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82E53126-9EAE-47B8-BE6A-E5D518BAFEB5}" type="presOf" srcId="{66786007-6037-4CE6-A51C-05FC76FF82D0}" destId="{062B82BB-9264-4BB3-AAA5-081B6E78A7D0}" srcOrd="0" destOrd="0" presId="urn:microsoft.com/office/officeart/2005/8/layout/hChevron3"/>
    <dgm:cxn modelId="{3F555F2C-EDAA-4454-BC89-E4E3B21C0258}" type="presOf" srcId="{6CF6E163-68F9-42F4-89E9-373E1035A239}" destId="{5EF59913-DB1A-4C1B-9E88-C21503965DF7}" srcOrd="0" destOrd="0" presId="urn:microsoft.com/office/officeart/2005/8/layout/hChevron3"/>
    <dgm:cxn modelId="{3CA5EECD-C1CC-4645-AFA0-80930E82F21F}" type="presOf" srcId="{D975BD1E-6575-4B4E-BBA3-A2D1DACF1963}" destId="{5DBBB54C-4C5C-422F-BE37-71270213C408}" srcOrd="0" destOrd="0" presId="urn:microsoft.com/office/officeart/2005/8/layout/hChevron3"/>
    <dgm:cxn modelId="{A58B857B-4403-4462-B09E-31ADDB0B00B2}" type="presOf" srcId="{AC9FC650-12AE-4225-A2A4-727DA87A1D19}" destId="{DE04C892-9986-4C11-8E82-93F285815BAD}" srcOrd="0" destOrd="0" presId="urn:microsoft.com/office/officeart/2005/8/layout/hChevron3"/>
    <dgm:cxn modelId="{A820886D-E139-42A1-B6E8-1CBA1BEB58E3}" type="presOf" srcId="{DFDB99B7-47FC-430D-9BEF-A0040781E1F4}" destId="{0A67CC49-5030-4FFF-81A9-4EFA003F6B4E}" srcOrd="0" destOrd="0" presId="urn:microsoft.com/office/officeart/2005/8/layout/hChevron3"/>
    <dgm:cxn modelId="{6D352CF8-0B77-4C19-94F1-3A1CB7A2D0E8}" type="presParOf" srcId="{062B82BB-9264-4BB3-AAA5-081B6E78A7D0}" destId="{0A67CC49-5030-4FFF-81A9-4EFA003F6B4E}" srcOrd="0" destOrd="0" presId="urn:microsoft.com/office/officeart/2005/8/layout/hChevron3"/>
    <dgm:cxn modelId="{8480020B-B540-4499-8B76-2AADD40F6FB6}" type="presParOf" srcId="{062B82BB-9264-4BB3-AAA5-081B6E78A7D0}" destId="{53CEB83C-295A-4950-8109-56EE269D6D57}" srcOrd="1" destOrd="0" presId="urn:microsoft.com/office/officeart/2005/8/layout/hChevron3"/>
    <dgm:cxn modelId="{7934E445-A87D-43A7-92E4-C7F8D61BFCAD}" type="presParOf" srcId="{062B82BB-9264-4BB3-AAA5-081B6E78A7D0}" destId="{5EF59913-DB1A-4C1B-9E88-C21503965DF7}" srcOrd="2" destOrd="0" presId="urn:microsoft.com/office/officeart/2005/8/layout/hChevron3"/>
    <dgm:cxn modelId="{6B9B144E-9C22-450A-94A6-8CF7001EF3C6}" type="presParOf" srcId="{062B82BB-9264-4BB3-AAA5-081B6E78A7D0}" destId="{D0CE9A0C-C1D6-4A8B-9617-A220472D6F88}" srcOrd="3" destOrd="0" presId="urn:microsoft.com/office/officeart/2005/8/layout/hChevron3"/>
    <dgm:cxn modelId="{5DBABDD0-D463-4520-9BB4-7FD8B2124F75}" type="presParOf" srcId="{062B82BB-9264-4BB3-AAA5-081B6E78A7D0}" destId="{DE04C892-9986-4C11-8E82-93F285815BAD}" srcOrd="4" destOrd="0" presId="urn:microsoft.com/office/officeart/2005/8/layout/hChevron3"/>
    <dgm:cxn modelId="{2BAD2BCC-FFAE-4260-8262-A9EACA2D2EB8}" type="presParOf" srcId="{062B82BB-9264-4BB3-AAA5-081B6E78A7D0}" destId="{CB63BD15-021D-40AB-930F-8029DE744502}" srcOrd="5" destOrd="0" presId="urn:microsoft.com/office/officeart/2005/8/layout/hChevron3"/>
    <dgm:cxn modelId="{F17CC822-BACD-490A-BCC8-66DAAD5C5A06}" type="presParOf" srcId="{062B82BB-9264-4BB3-AAA5-081B6E78A7D0}" destId="{5DBBB54C-4C5C-422F-BE37-71270213C408}" srcOrd="6" destOrd="0" presId="urn:microsoft.com/office/officeart/2005/8/layout/hChevron3"/>
    <dgm:cxn modelId="{C04057A4-698D-4AC8-B11F-0550B4A351A0}" type="presParOf" srcId="{062B82BB-9264-4BB3-AAA5-081B6E78A7D0}" destId="{8A383658-2EBF-45AC-9C3A-45E6A9B769D0}" srcOrd="7" destOrd="0" presId="urn:microsoft.com/office/officeart/2005/8/layout/hChevron3"/>
    <dgm:cxn modelId="{3942657F-A7A2-4E59-9FA4-006FC4BBAB5F}" type="presParOf" srcId="{062B82BB-9264-4BB3-AAA5-081B6E78A7D0}" destId="{557A5E4A-F1F5-4749-B988-E763089FCFBE}" srcOrd="8" destOrd="0" presId="urn:microsoft.com/office/officeart/2005/8/layout/hChevron3"/>
    <dgm:cxn modelId="{4FE55AC8-E960-4BAF-BA68-F968B7670303}" type="presParOf" srcId="{062B82BB-9264-4BB3-AAA5-081B6E78A7D0}" destId="{6633CB3B-0208-4BF6-83D6-4DDE2CC08617}" srcOrd="9" destOrd="0" presId="urn:microsoft.com/office/officeart/2005/8/layout/hChevron3"/>
    <dgm:cxn modelId="{042C4CD6-7697-4ADD-927F-665636601FC0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8040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E74D5F14-8633-49E1-996D-5EF167340A86}" type="presOf" srcId="{DFDB99B7-47FC-430D-9BEF-A0040781E1F4}" destId="{0A67CC49-5030-4FFF-81A9-4EFA003F6B4E}" srcOrd="0" destOrd="0" presId="urn:microsoft.com/office/officeart/2005/8/layout/hChevron3"/>
    <dgm:cxn modelId="{9AA3EECE-F65E-4DD3-B2CE-B50ACDED6341}" type="presOf" srcId="{66786007-6037-4CE6-A51C-05FC76FF82D0}" destId="{062B82BB-9264-4BB3-AAA5-081B6E78A7D0}" srcOrd="0" destOrd="0" presId="urn:microsoft.com/office/officeart/2005/8/layout/hChevron3"/>
    <dgm:cxn modelId="{2C08E5E7-3272-4996-89C5-020E2FE963D0}" type="presOf" srcId="{D975BD1E-6575-4B4E-BBA3-A2D1DACF1963}" destId="{5DBBB54C-4C5C-422F-BE37-71270213C408}" srcOrd="0" destOrd="0" presId="urn:microsoft.com/office/officeart/2005/8/layout/hChevron3"/>
    <dgm:cxn modelId="{242F276B-7110-44FB-8CAC-520B3BD34292}" type="presOf" srcId="{AC9FC650-12AE-4225-A2A4-727DA87A1D19}" destId="{DE04C892-9986-4C11-8E82-93F285815BAD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B45917FA-A249-4643-935E-D9435C4DBE1E}" type="presOf" srcId="{A6B5D113-7F3C-4C6C-A72C-DDB921C949C9}" destId="{557A5E4A-F1F5-4749-B988-E763089FCFBE}" srcOrd="0" destOrd="0" presId="urn:microsoft.com/office/officeart/2005/8/layout/hChevron3"/>
    <dgm:cxn modelId="{F03C1167-2923-41B2-B825-282759D3C16C}" type="presOf" srcId="{6CF6E163-68F9-42F4-89E9-373E1035A239}" destId="{5EF59913-DB1A-4C1B-9E88-C21503965DF7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9ACB961D-1027-42C2-B2A0-D7DA357F24AD}" type="presOf" srcId="{7C199027-1063-498C-BB99-9FA2675558DF}" destId="{3A2948AC-8449-4A60-A4DA-3C870472F676}" srcOrd="0" destOrd="0" presId="urn:microsoft.com/office/officeart/2005/8/layout/hChevron3"/>
    <dgm:cxn modelId="{BFE099BF-6763-4A7B-9B4C-E18596131586}" type="presParOf" srcId="{062B82BB-9264-4BB3-AAA5-081B6E78A7D0}" destId="{0A67CC49-5030-4FFF-81A9-4EFA003F6B4E}" srcOrd="0" destOrd="0" presId="urn:microsoft.com/office/officeart/2005/8/layout/hChevron3"/>
    <dgm:cxn modelId="{DBA36902-7292-47DD-A6BE-47F0A826CA20}" type="presParOf" srcId="{062B82BB-9264-4BB3-AAA5-081B6E78A7D0}" destId="{53CEB83C-295A-4950-8109-56EE269D6D57}" srcOrd="1" destOrd="0" presId="urn:microsoft.com/office/officeart/2005/8/layout/hChevron3"/>
    <dgm:cxn modelId="{92604550-EB5C-4468-9AD6-CA617D6D12C2}" type="presParOf" srcId="{062B82BB-9264-4BB3-AAA5-081B6E78A7D0}" destId="{5EF59913-DB1A-4C1B-9E88-C21503965DF7}" srcOrd="2" destOrd="0" presId="urn:microsoft.com/office/officeart/2005/8/layout/hChevron3"/>
    <dgm:cxn modelId="{AA0160D4-5587-4D69-A416-B5BAD32F28CE}" type="presParOf" srcId="{062B82BB-9264-4BB3-AAA5-081B6E78A7D0}" destId="{D0CE9A0C-C1D6-4A8B-9617-A220472D6F88}" srcOrd="3" destOrd="0" presId="urn:microsoft.com/office/officeart/2005/8/layout/hChevron3"/>
    <dgm:cxn modelId="{5220DB83-37D5-42DF-B8AA-636B00800F1E}" type="presParOf" srcId="{062B82BB-9264-4BB3-AAA5-081B6E78A7D0}" destId="{DE04C892-9986-4C11-8E82-93F285815BAD}" srcOrd="4" destOrd="0" presId="urn:microsoft.com/office/officeart/2005/8/layout/hChevron3"/>
    <dgm:cxn modelId="{63ED8294-851B-4E11-933A-C4E2D338525C}" type="presParOf" srcId="{062B82BB-9264-4BB3-AAA5-081B6E78A7D0}" destId="{CB63BD15-021D-40AB-930F-8029DE744502}" srcOrd="5" destOrd="0" presId="urn:microsoft.com/office/officeart/2005/8/layout/hChevron3"/>
    <dgm:cxn modelId="{266FF197-44F8-4BE6-8BD8-928E4276330C}" type="presParOf" srcId="{062B82BB-9264-4BB3-AAA5-081B6E78A7D0}" destId="{5DBBB54C-4C5C-422F-BE37-71270213C408}" srcOrd="6" destOrd="0" presId="urn:microsoft.com/office/officeart/2005/8/layout/hChevron3"/>
    <dgm:cxn modelId="{64862B67-4CF3-4095-947E-6265C2B8B7CA}" type="presParOf" srcId="{062B82BB-9264-4BB3-AAA5-081B6E78A7D0}" destId="{8A383658-2EBF-45AC-9C3A-45E6A9B769D0}" srcOrd="7" destOrd="0" presId="urn:microsoft.com/office/officeart/2005/8/layout/hChevron3"/>
    <dgm:cxn modelId="{D13ADC2F-FD1E-4A36-99BD-AACA3E3E3815}" type="presParOf" srcId="{062B82BB-9264-4BB3-AAA5-081B6E78A7D0}" destId="{557A5E4A-F1F5-4749-B988-E763089FCFBE}" srcOrd="8" destOrd="0" presId="urn:microsoft.com/office/officeart/2005/8/layout/hChevron3"/>
    <dgm:cxn modelId="{566819C6-CC2C-4FE0-95FC-4F7B0281C2A9}" type="presParOf" srcId="{062B82BB-9264-4BB3-AAA5-081B6E78A7D0}" destId="{6633CB3B-0208-4BF6-83D6-4DDE2CC08617}" srcOrd="9" destOrd="0" presId="urn:microsoft.com/office/officeart/2005/8/layout/hChevron3"/>
    <dgm:cxn modelId="{F91EEE80-A36E-49A4-A137-6C997095FFC8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5738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6C6D0B16-D9EB-4209-B420-8FA29BB0D24C}" type="presOf" srcId="{AC9FC650-12AE-4225-A2A4-727DA87A1D19}" destId="{DE04C892-9986-4C11-8E82-93F285815BAD}" srcOrd="0" destOrd="0" presId="urn:microsoft.com/office/officeart/2005/8/layout/hChevron3"/>
    <dgm:cxn modelId="{41B3B076-F4F7-48FC-A683-94009FD5C0A8}" type="presOf" srcId="{D975BD1E-6575-4B4E-BBA3-A2D1DACF1963}" destId="{5DBBB54C-4C5C-422F-BE37-71270213C408}" srcOrd="0" destOrd="0" presId="urn:microsoft.com/office/officeart/2005/8/layout/hChevron3"/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FBEE6238-A0DF-487D-8109-A17DF5D61A24}" type="presOf" srcId="{DFDB99B7-47FC-430D-9BEF-A0040781E1F4}" destId="{0A67CC49-5030-4FFF-81A9-4EFA003F6B4E}" srcOrd="0" destOrd="0" presId="urn:microsoft.com/office/officeart/2005/8/layout/hChevron3"/>
    <dgm:cxn modelId="{C06F913B-0EEB-462F-AB57-7A5D5747E45D}" type="presOf" srcId="{66786007-6037-4CE6-A51C-05FC76FF82D0}" destId="{062B82BB-9264-4BB3-AAA5-081B6E78A7D0}" srcOrd="0" destOrd="0" presId="urn:microsoft.com/office/officeart/2005/8/layout/hChevron3"/>
    <dgm:cxn modelId="{E97D43DA-241F-475A-9ADC-DF6C01053F76}" type="presOf" srcId="{7C199027-1063-498C-BB99-9FA2675558DF}" destId="{3A2948AC-8449-4A60-A4DA-3C870472F676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076048B1-AA78-4A1F-B596-3D3942CB37AC}" type="presOf" srcId="{A6B5D113-7F3C-4C6C-A72C-DDB921C949C9}" destId="{557A5E4A-F1F5-4749-B988-E763089FCFBE}" srcOrd="0" destOrd="0" presId="urn:microsoft.com/office/officeart/2005/8/layout/hChevron3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5677DFE2-B929-4B3F-934D-0B4529A970F3}" type="presOf" srcId="{6CF6E163-68F9-42F4-89E9-373E1035A239}" destId="{5EF59913-DB1A-4C1B-9E88-C21503965DF7}" srcOrd="0" destOrd="0" presId="urn:microsoft.com/office/officeart/2005/8/layout/hChevron3"/>
    <dgm:cxn modelId="{CC21C1BB-BBA1-457E-8440-93FD1DACEC78}" type="presParOf" srcId="{062B82BB-9264-4BB3-AAA5-081B6E78A7D0}" destId="{0A67CC49-5030-4FFF-81A9-4EFA003F6B4E}" srcOrd="0" destOrd="0" presId="urn:microsoft.com/office/officeart/2005/8/layout/hChevron3"/>
    <dgm:cxn modelId="{B37DDDD9-6B5B-4919-9927-92B5A798DE3A}" type="presParOf" srcId="{062B82BB-9264-4BB3-AAA5-081B6E78A7D0}" destId="{53CEB83C-295A-4950-8109-56EE269D6D57}" srcOrd="1" destOrd="0" presId="urn:microsoft.com/office/officeart/2005/8/layout/hChevron3"/>
    <dgm:cxn modelId="{FD0DF377-B729-4BEB-B82A-7D3612D25D53}" type="presParOf" srcId="{062B82BB-9264-4BB3-AAA5-081B6E78A7D0}" destId="{5EF59913-DB1A-4C1B-9E88-C21503965DF7}" srcOrd="2" destOrd="0" presId="urn:microsoft.com/office/officeart/2005/8/layout/hChevron3"/>
    <dgm:cxn modelId="{FF2B08CF-63CA-4A57-ACF0-EB1B30532787}" type="presParOf" srcId="{062B82BB-9264-4BB3-AAA5-081B6E78A7D0}" destId="{D0CE9A0C-C1D6-4A8B-9617-A220472D6F88}" srcOrd="3" destOrd="0" presId="urn:microsoft.com/office/officeart/2005/8/layout/hChevron3"/>
    <dgm:cxn modelId="{B0EA63FD-7D05-4B77-A9D8-4485AF442441}" type="presParOf" srcId="{062B82BB-9264-4BB3-AAA5-081B6E78A7D0}" destId="{DE04C892-9986-4C11-8E82-93F285815BAD}" srcOrd="4" destOrd="0" presId="urn:microsoft.com/office/officeart/2005/8/layout/hChevron3"/>
    <dgm:cxn modelId="{ED3870DB-BA4B-4A87-80EC-09AC47C01526}" type="presParOf" srcId="{062B82BB-9264-4BB3-AAA5-081B6E78A7D0}" destId="{CB63BD15-021D-40AB-930F-8029DE744502}" srcOrd="5" destOrd="0" presId="urn:microsoft.com/office/officeart/2005/8/layout/hChevron3"/>
    <dgm:cxn modelId="{5EAEFA14-560D-4A12-AFD9-A00E58646D04}" type="presParOf" srcId="{062B82BB-9264-4BB3-AAA5-081B6E78A7D0}" destId="{5DBBB54C-4C5C-422F-BE37-71270213C408}" srcOrd="6" destOrd="0" presId="urn:microsoft.com/office/officeart/2005/8/layout/hChevron3"/>
    <dgm:cxn modelId="{0F3554D3-2E49-481B-8CE4-DBDB297591C8}" type="presParOf" srcId="{062B82BB-9264-4BB3-AAA5-081B6E78A7D0}" destId="{8A383658-2EBF-45AC-9C3A-45E6A9B769D0}" srcOrd="7" destOrd="0" presId="urn:microsoft.com/office/officeart/2005/8/layout/hChevron3"/>
    <dgm:cxn modelId="{1A2AC003-CAD5-4710-AC44-871805C1D687}" type="presParOf" srcId="{062B82BB-9264-4BB3-AAA5-081B6E78A7D0}" destId="{557A5E4A-F1F5-4749-B988-E763089FCFBE}" srcOrd="8" destOrd="0" presId="urn:microsoft.com/office/officeart/2005/8/layout/hChevron3"/>
    <dgm:cxn modelId="{35BC586C-1649-4567-8816-45BB5C551CD5}" type="presParOf" srcId="{062B82BB-9264-4BB3-AAA5-081B6E78A7D0}" destId="{6633CB3B-0208-4BF6-83D6-4DDE2CC08617}" srcOrd="9" destOrd="0" presId="urn:microsoft.com/office/officeart/2005/8/layout/hChevron3"/>
    <dgm:cxn modelId="{9261B80A-A2F1-4801-AE1E-0EF581C0988F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5738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14D94E5E-61FE-4657-9DC9-9A02AC43036D}" type="presOf" srcId="{A6B5D113-7F3C-4C6C-A72C-DDB921C949C9}" destId="{557A5E4A-F1F5-4749-B988-E763089FCFBE}" srcOrd="0" destOrd="0" presId="urn:microsoft.com/office/officeart/2005/8/layout/hChevron3"/>
    <dgm:cxn modelId="{AF285375-AF6E-4C45-BA4C-678C78235CBE}" type="presOf" srcId="{D975BD1E-6575-4B4E-BBA3-A2D1DACF1963}" destId="{5DBBB54C-4C5C-422F-BE37-71270213C408}" srcOrd="0" destOrd="0" presId="urn:microsoft.com/office/officeart/2005/8/layout/hChevron3"/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00FE8361-81FF-43FF-A0B2-0CF057DA5AB7}" type="presOf" srcId="{7C199027-1063-498C-BB99-9FA2675558DF}" destId="{3A2948AC-8449-4A60-A4DA-3C870472F676}" srcOrd="0" destOrd="0" presId="urn:microsoft.com/office/officeart/2005/8/layout/hChevron3"/>
    <dgm:cxn modelId="{F719DA70-B0D8-4E69-8FD3-DF19EEAE1443}" type="presOf" srcId="{AC9FC650-12AE-4225-A2A4-727DA87A1D19}" destId="{DE04C892-9986-4C11-8E82-93F285815BAD}" srcOrd="0" destOrd="0" presId="urn:microsoft.com/office/officeart/2005/8/layout/hChevron3"/>
    <dgm:cxn modelId="{FBB5184E-6259-4BF7-9C16-4A640FADF779}" type="presOf" srcId="{6CF6E163-68F9-42F4-89E9-373E1035A239}" destId="{5EF59913-DB1A-4C1B-9E88-C21503965DF7}" srcOrd="0" destOrd="0" presId="urn:microsoft.com/office/officeart/2005/8/layout/hChevron3"/>
    <dgm:cxn modelId="{C61C16B4-8D3E-42E2-A99A-9433B91AC963}" type="presOf" srcId="{DFDB99B7-47FC-430D-9BEF-A0040781E1F4}" destId="{0A67CC49-5030-4FFF-81A9-4EFA003F6B4E}" srcOrd="0" destOrd="0" presId="urn:microsoft.com/office/officeart/2005/8/layout/hChevron3"/>
    <dgm:cxn modelId="{174299E1-67D8-470C-B432-6DA60985155A}" type="presOf" srcId="{66786007-6037-4CE6-A51C-05FC76FF82D0}" destId="{062B82BB-9264-4BB3-AAA5-081B6E78A7D0}" srcOrd="0" destOrd="0" presId="urn:microsoft.com/office/officeart/2005/8/layout/hChevron3"/>
    <dgm:cxn modelId="{AE434B19-3948-468F-AE62-E982D7BB97AC}" type="presParOf" srcId="{062B82BB-9264-4BB3-AAA5-081B6E78A7D0}" destId="{0A67CC49-5030-4FFF-81A9-4EFA003F6B4E}" srcOrd="0" destOrd="0" presId="urn:microsoft.com/office/officeart/2005/8/layout/hChevron3"/>
    <dgm:cxn modelId="{58E8E4D2-D1FD-4703-8531-7FAE066FF095}" type="presParOf" srcId="{062B82BB-9264-4BB3-AAA5-081B6E78A7D0}" destId="{53CEB83C-295A-4950-8109-56EE269D6D57}" srcOrd="1" destOrd="0" presId="urn:microsoft.com/office/officeart/2005/8/layout/hChevron3"/>
    <dgm:cxn modelId="{1BF56890-B1E9-43E0-9258-2490E5CA1A28}" type="presParOf" srcId="{062B82BB-9264-4BB3-AAA5-081B6E78A7D0}" destId="{5EF59913-DB1A-4C1B-9E88-C21503965DF7}" srcOrd="2" destOrd="0" presId="urn:microsoft.com/office/officeart/2005/8/layout/hChevron3"/>
    <dgm:cxn modelId="{9F5FAEA9-7D64-4870-8CDF-2A8B5B174A68}" type="presParOf" srcId="{062B82BB-9264-4BB3-AAA5-081B6E78A7D0}" destId="{D0CE9A0C-C1D6-4A8B-9617-A220472D6F88}" srcOrd="3" destOrd="0" presId="urn:microsoft.com/office/officeart/2005/8/layout/hChevron3"/>
    <dgm:cxn modelId="{C26F8999-E36F-43B8-A937-C5AD4FC41584}" type="presParOf" srcId="{062B82BB-9264-4BB3-AAA5-081B6E78A7D0}" destId="{DE04C892-9986-4C11-8E82-93F285815BAD}" srcOrd="4" destOrd="0" presId="urn:microsoft.com/office/officeart/2005/8/layout/hChevron3"/>
    <dgm:cxn modelId="{00D22E63-9747-4A29-BB48-6092B6C4AC68}" type="presParOf" srcId="{062B82BB-9264-4BB3-AAA5-081B6E78A7D0}" destId="{CB63BD15-021D-40AB-930F-8029DE744502}" srcOrd="5" destOrd="0" presId="urn:microsoft.com/office/officeart/2005/8/layout/hChevron3"/>
    <dgm:cxn modelId="{BFE3C013-1AC7-4A32-869A-85CA314FCDFF}" type="presParOf" srcId="{062B82BB-9264-4BB3-AAA5-081B6E78A7D0}" destId="{5DBBB54C-4C5C-422F-BE37-71270213C408}" srcOrd="6" destOrd="0" presId="urn:microsoft.com/office/officeart/2005/8/layout/hChevron3"/>
    <dgm:cxn modelId="{D47F1C98-4EFD-449F-9F4F-4917280574F3}" type="presParOf" srcId="{062B82BB-9264-4BB3-AAA5-081B6E78A7D0}" destId="{8A383658-2EBF-45AC-9C3A-45E6A9B769D0}" srcOrd="7" destOrd="0" presId="urn:microsoft.com/office/officeart/2005/8/layout/hChevron3"/>
    <dgm:cxn modelId="{595482A8-9BE8-4937-8300-6851EBD80A5B}" type="presParOf" srcId="{062B82BB-9264-4BB3-AAA5-081B6E78A7D0}" destId="{557A5E4A-F1F5-4749-B988-E763089FCFBE}" srcOrd="8" destOrd="0" presId="urn:microsoft.com/office/officeart/2005/8/layout/hChevron3"/>
    <dgm:cxn modelId="{7BA66C0F-70A6-4A60-8815-E47626982924}" type="presParOf" srcId="{062B82BB-9264-4BB3-AAA5-081B6E78A7D0}" destId="{6633CB3B-0208-4BF6-83D6-4DDE2CC08617}" srcOrd="9" destOrd="0" presId="urn:microsoft.com/office/officeart/2005/8/layout/hChevron3"/>
    <dgm:cxn modelId="{05BE27DF-818A-415D-B9B6-AE5F68FD9181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F76077F-2A3D-AF4F-A12C-852CC7D71B30}" type="doc">
      <dgm:prSet loTypeId="urn:microsoft.com/office/officeart/2005/8/layout/radial2" loCatId="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6165695C-02AE-1F43-B001-C0C026C0E83E}">
      <dgm:prSet phldrT="[Text]" custT="1"/>
      <dgm:spPr>
        <a:effectLst>
          <a:innerShdw blurRad="63500" dist="50800" dir="18900000">
            <a:prstClr val="black">
              <a:alpha val="50000"/>
            </a:prstClr>
          </a:innerShdw>
        </a:effectLst>
      </dgm:spPr>
      <dgm:t>
        <a:bodyPr/>
        <a:lstStyle/>
        <a:p>
          <a:pPr algn="ctr"/>
          <a:r>
            <a:rPr lang="en-US" sz="1600" b="1" dirty="0" err="1" smtClean="0">
              <a:solidFill>
                <a:srgbClr val="595959"/>
              </a:solidFill>
            </a:rPr>
            <a:t>Technolo-gie</a:t>
          </a:r>
          <a:endParaRPr lang="en-US" sz="1600" b="1" dirty="0" smtClean="0">
            <a:solidFill>
              <a:srgbClr val="595959"/>
            </a:solidFill>
          </a:endParaRPr>
        </a:p>
      </dgm:t>
    </dgm:pt>
    <dgm:pt modelId="{B335BC17-E8E1-BC48-9F6F-AC8FA00D4245}" type="parTrans" cxnId="{D1B54D11-F59E-1947-98C7-A7604A1E7ED1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597AB0A5-6F65-724C-BE86-B03E49679042}" type="sibTrans" cxnId="{D1B54D11-F59E-1947-98C7-A7604A1E7ED1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EE3D2F82-1F20-1541-8666-F1AD5481E3C9}">
      <dgm:prSet phldrT="[Text]" custT="1"/>
      <dgm:spPr>
        <a:effectLst>
          <a:innerShdw blurRad="63500" dist="50800" dir="18900000">
            <a:prstClr val="black">
              <a:alpha val="50000"/>
            </a:prstClr>
          </a:innerShdw>
        </a:effectLst>
      </dgm:spPr>
      <dgm:t>
        <a:bodyPr/>
        <a:lstStyle/>
        <a:p>
          <a:pPr algn="ctr"/>
          <a:r>
            <a:rPr lang="en-US" sz="1600" b="1" dirty="0" smtClean="0">
              <a:solidFill>
                <a:srgbClr val="595959"/>
              </a:solidFill>
            </a:rPr>
            <a:t>Manage-</a:t>
          </a:r>
          <a:r>
            <a:rPr lang="en-US" sz="1600" b="1" dirty="0" err="1" smtClean="0">
              <a:solidFill>
                <a:srgbClr val="595959"/>
              </a:solidFill>
            </a:rPr>
            <a:t>ment</a:t>
          </a:r>
          <a:endParaRPr lang="en-US" sz="1400" b="1" dirty="0" smtClean="0">
            <a:solidFill>
              <a:srgbClr val="595959"/>
            </a:solidFill>
          </a:endParaRPr>
        </a:p>
      </dgm:t>
    </dgm:pt>
    <dgm:pt modelId="{BB980460-B78A-DB4E-ACAF-FBE185243189}" type="parTrans" cxnId="{880D4480-A535-2D40-9BAB-CDC3A2B03DA0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051592C7-7370-2942-B4B3-6703D82C3EAB}" type="sibTrans" cxnId="{880D4480-A535-2D40-9BAB-CDC3A2B03DA0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E7B939B9-367D-A640-B5DB-84C96A3ECF1A}">
      <dgm:prSet phldrT="[Text]" custT="1"/>
      <dgm:spPr/>
      <dgm:t>
        <a:bodyPr/>
        <a:lstStyle/>
        <a:p>
          <a:r>
            <a:rPr lang="en-US" sz="1050" dirty="0" err="1" smtClean="0"/>
            <a:t>Holistische</a:t>
          </a:r>
          <a:r>
            <a:rPr lang="en-US" sz="1050" dirty="0" smtClean="0"/>
            <a:t> </a:t>
          </a:r>
          <a:r>
            <a:rPr lang="en-US" sz="1050" dirty="0" err="1" smtClean="0"/>
            <a:t>analyse</a:t>
          </a:r>
          <a:r>
            <a:rPr lang="en-US" sz="1050" dirty="0" smtClean="0"/>
            <a:t> van de </a:t>
          </a:r>
          <a:r>
            <a:rPr lang="en-US" sz="1050" dirty="0" err="1" smtClean="0"/>
            <a:t>waardeketen</a:t>
          </a:r>
          <a:r>
            <a:rPr lang="en-US" sz="1050" dirty="0" smtClean="0"/>
            <a:t> – gap </a:t>
          </a:r>
          <a:r>
            <a:rPr lang="en-US" sz="1050" dirty="0" err="1" smtClean="0"/>
            <a:t>analyse</a:t>
          </a:r>
          <a:endParaRPr lang="en-US" sz="1050" dirty="0"/>
        </a:p>
      </dgm:t>
    </dgm:pt>
    <dgm:pt modelId="{76EA62EE-7E43-4A46-99D0-B1F593B5CA0E}" type="parTrans" cxnId="{AFBED700-510A-CE4C-B9E0-E7509B996A87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51F8D282-1F36-7348-A94A-D0D38695B7D7}" type="sibTrans" cxnId="{AFBED700-510A-CE4C-B9E0-E7509B996A87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E7968332-D92B-1B4D-827D-6556449F334C}">
      <dgm:prSet phldrT="[Text]" custT="1"/>
      <dgm:spPr>
        <a:effectLst>
          <a:innerShdw blurRad="63500" dist="50800" dir="18900000">
            <a:prstClr val="black">
              <a:alpha val="50000"/>
            </a:prstClr>
          </a:innerShdw>
        </a:effectLst>
      </dgm:spPr>
      <dgm:t>
        <a:bodyPr/>
        <a:lstStyle/>
        <a:p>
          <a:pPr algn="ctr"/>
          <a:r>
            <a:rPr lang="en-US" sz="1600" b="1" dirty="0" smtClean="0">
              <a:solidFill>
                <a:srgbClr val="595959"/>
              </a:solidFill>
            </a:rPr>
            <a:t>Mindset </a:t>
          </a:r>
          <a:r>
            <a:rPr lang="en-US" sz="1600" b="1" dirty="0" err="1" smtClean="0">
              <a:solidFill>
                <a:srgbClr val="595959"/>
              </a:solidFill>
            </a:rPr>
            <a:t>en</a:t>
          </a:r>
          <a:r>
            <a:rPr lang="en-US" sz="1600" b="1" dirty="0" smtClean="0">
              <a:solidFill>
                <a:srgbClr val="595959"/>
              </a:solidFill>
            </a:rPr>
            <a:t> </a:t>
          </a:r>
          <a:r>
            <a:rPr lang="en-US" sz="1600" b="1" dirty="0" err="1" smtClean="0">
              <a:solidFill>
                <a:srgbClr val="595959"/>
              </a:solidFill>
            </a:rPr>
            <a:t>vaardig-heden</a:t>
          </a:r>
          <a:endParaRPr lang="en-US" sz="1600" b="1" dirty="0" smtClean="0">
            <a:solidFill>
              <a:srgbClr val="595959"/>
            </a:solidFill>
          </a:endParaRPr>
        </a:p>
      </dgm:t>
    </dgm:pt>
    <dgm:pt modelId="{3649E684-FDB2-F945-9A71-04E0A0FDFBED}" type="parTrans" cxnId="{700A36A9-B5FD-944F-BFAC-582806FD2C5D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493568A4-3B40-0645-9157-A8C44792A715}" type="sibTrans" cxnId="{700A36A9-B5FD-944F-BFAC-582806FD2C5D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6DB3F070-141C-A74C-AE2E-8D9E7991C73B}">
      <dgm:prSet phldrT="[Text]"/>
      <dgm:spPr/>
      <dgm:t>
        <a:bodyPr/>
        <a:lstStyle/>
        <a:p>
          <a:r>
            <a:rPr lang="en-US" dirty="0" err="1" smtClean="0"/>
            <a:t>Ontwikkeling</a:t>
          </a:r>
          <a:r>
            <a:rPr lang="en-US" dirty="0" smtClean="0"/>
            <a:t> van </a:t>
          </a:r>
          <a:r>
            <a:rPr lang="en-US" dirty="0" err="1" smtClean="0"/>
            <a:t>een</a:t>
          </a:r>
          <a:r>
            <a:rPr lang="en-US" dirty="0" smtClean="0"/>
            <a:t> KPI-</a:t>
          </a:r>
          <a:r>
            <a:rPr lang="en-US" dirty="0" err="1" smtClean="0"/>
            <a:t>structuur</a:t>
          </a:r>
          <a:r>
            <a:rPr lang="en-US" dirty="0" smtClean="0"/>
            <a:t>, </a:t>
          </a:r>
          <a:r>
            <a:rPr lang="en-US" dirty="0" err="1" smtClean="0"/>
            <a:t>rekening</a:t>
          </a:r>
          <a:r>
            <a:rPr lang="en-US" dirty="0" smtClean="0"/>
            <a:t> </a:t>
          </a:r>
          <a:r>
            <a:rPr lang="en-US" dirty="0" err="1" smtClean="0"/>
            <a:t>houdend</a:t>
          </a:r>
          <a:r>
            <a:rPr lang="en-US" dirty="0" smtClean="0"/>
            <a:t> met de </a:t>
          </a:r>
          <a:r>
            <a:rPr lang="en-US" dirty="0" err="1" smtClean="0"/>
            <a:t>energiedrivers</a:t>
          </a:r>
          <a:endParaRPr lang="en-US" dirty="0"/>
        </a:p>
      </dgm:t>
    </dgm:pt>
    <dgm:pt modelId="{27A711A5-8075-DE4F-8158-83185B259DBA}" type="parTrans" cxnId="{46163EC6-53C5-F243-B788-21022D5506A3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0CAE1288-E3C6-D049-B69B-268762D13C61}" type="sibTrans" cxnId="{46163EC6-53C5-F243-B788-21022D5506A3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5D4A7D1D-AB1A-E94C-B60F-8E3A70FAA498}">
      <dgm:prSet phldrT="[Text]"/>
      <dgm:spPr/>
      <dgm:t>
        <a:bodyPr/>
        <a:lstStyle/>
        <a:p>
          <a:r>
            <a:rPr lang="en-US" dirty="0" smtClean="0"/>
            <a:t> Top down </a:t>
          </a:r>
          <a:r>
            <a:rPr lang="en-US" dirty="0" err="1" smtClean="0"/>
            <a:t>beslissingen</a:t>
          </a:r>
          <a:r>
            <a:rPr lang="en-US" dirty="0" smtClean="0"/>
            <a:t>, bottom-up </a:t>
          </a:r>
          <a:r>
            <a:rPr lang="en-US" dirty="0" err="1" smtClean="0"/>
            <a:t>implementatie</a:t>
          </a:r>
          <a:endParaRPr lang="en-US" dirty="0"/>
        </a:p>
      </dgm:t>
    </dgm:pt>
    <dgm:pt modelId="{E0E3714C-7E1C-3C48-832C-2D484052EAAA}" type="sibTrans" cxnId="{5EBA3B3A-76C6-6740-B308-E6FC2291FC93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8E062147-8780-9248-9341-98A7B5D70E7E}" type="parTrans" cxnId="{5EBA3B3A-76C6-6740-B308-E6FC2291FC93}">
      <dgm:prSet/>
      <dgm:spPr/>
      <dgm:t>
        <a:bodyPr/>
        <a:lstStyle/>
        <a:p>
          <a:endParaRPr lang="en-US">
            <a:solidFill>
              <a:srgbClr val="000000"/>
            </a:solidFill>
          </a:endParaRPr>
        </a:p>
      </dgm:t>
    </dgm:pt>
    <dgm:pt modelId="{65DC491B-5CD7-6741-98F2-62F7AC63A4A7}">
      <dgm:prSet phldrT="[Text]" custT="1"/>
      <dgm:spPr/>
      <dgm:t>
        <a:bodyPr/>
        <a:lstStyle/>
        <a:p>
          <a:r>
            <a:rPr lang="en-US" sz="1050" dirty="0" err="1" smtClean="0"/>
            <a:t>Identificatie</a:t>
          </a:r>
          <a:r>
            <a:rPr lang="en-US" sz="1050" dirty="0" smtClean="0"/>
            <a:t> van </a:t>
          </a:r>
          <a:r>
            <a:rPr lang="en-US" sz="1050" dirty="0" err="1" smtClean="0"/>
            <a:t>variabiliteit</a:t>
          </a:r>
          <a:r>
            <a:rPr lang="en-US" sz="1050" dirty="0" smtClean="0"/>
            <a:t>, </a:t>
          </a:r>
          <a:r>
            <a:rPr lang="en-US" sz="1050" dirty="0" err="1" smtClean="0"/>
            <a:t>verliezen</a:t>
          </a:r>
          <a:r>
            <a:rPr lang="en-US" sz="1050" dirty="0" smtClean="0"/>
            <a:t> en de </a:t>
          </a:r>
          <a:r>
            <a:rPr lang="en-US" sz="1050" dirty="0" err="1" smtClean="0"/>
            <a:t>oorzaken</a:t>
          </a:r>
          <a:r>
            <a:rPr lang="en-US" sz="1050" dirty="0" smtClean="0"/>
            <a:t> (root causes)</a:t>
          </a:r>
          <a:endParaRPr lang="en-US" sz="1050" dirty="0"/>
        </a:p>
      </dgm:t>
    </dgm:pt>
    <dgm:pt modelId="{37143702-A9B2-514A-B56F-843571CDE78C}" type="parTrans" cxnId="{20FB77F9-6FD8-6B49-9F01-78109CF0C320}">
      <dgm:prSet/>
      <dgm:spPr/>
      <dgm:t>
        <a:bodyPr/>
        <a:lstStyle/>
        <a:p>
          <a:endParaRPr lang="en-US"/>
        </a:p>
      </dgm:t>
    </dgm:pt>
    <dgm:pt modelId="{5243A895-4499-0043-B8D9-9A8F4187A976}" type="sibTrans" cxnId="{20FB77F9-6FD8-6B49-9F01-78109CF0C320}">
      <dgm:prSet/>
      <dgm:spPr/>
      <dgm:t>
        <a:bodyPr/>
        <a:lstStyle/>
        <a:p>
          <a:endParaRPr lang="en-US"/>
        </a:p>
      </dgm:t>
    </dgm:pt>
    <dgm:pt modelId="{E4A335AD-9CB1-6148-A752-8D148F50A8C3}">
      <dgm:prSet phldrT="[Text]" custT="1"/>
      <dgm:spPr/>
      <dgm:t>
        <a:bodyPr/>
        <a:lstStyle/>
        <a:p>
          <a:r>
            <a:rPr lang="en-US" sz="1050" dirty="0" err="1" smtClean="0"/>
            <a:t>Implementatie</a:t>
          </a:r>
          <a:r>
            <a:rPr lang="en-US" sz="1050" dirty="0" smtClean="0"/>
            <a:t> van  </a:t>
          </a:r>
          <a:r>
            <a:rPr lang="en-US" sz="1050" dirty="0" err="1" smtClean="0"/>
            <a:t>beslissingsondersteunende</a:t>
          </a:r>
          <a:r>
            <a:rPr lang="en-US" sz="1050" dirty="0" smtClean="0"/>
            <a:t> tools  </a:t>
          </a:r>
          <a:r>
            <a:rPr lang="en-US" sz="1050" dirty="0" err="1" smtClean="0"/>
            <a:t>voor</a:t>
          </a:r>
          <a:r>
            <a:rPr lang="en-US" sz="1050" dirty="0" smtClean="0"/>
            <a:t> </a:t>
          </a:r>
          <a:r>
            <a:rPr lang="en-US" sz="1050" dirty="0" err="1" smtClean="0"/>
            <a:t>reductie</a:t>
          </a:r>
          <a:r>
            <a:rPr lang="en-US" sz="1050" dirty="0" smtClean="0"/>
            <a:t> van </a:t>
          </a:r>
          <a:r>
            <a:rPr lang="en-US" sz="1050" dirty="0" err="1" smtClean="0"/>
            <a:t>variabiliteit</a:t>
          </a:r>
          <a:endParaRPr lang="en-US" sz="1050" dirty="0"/>
        </a:p>
      </dgm:t>
    </dgm:pt>
    <dgm:pt modelId="{EE87B7C4-4238-7E42-AC22-7B651CF70690}" type="parTrans" cxnId="{88350E16-2D81-7F4D-B377-46C93E50A95B}">
      <dgm:prSet/>
      <dgm:spPr/>
      <dgm:t>
        <a:bodyPr/>
        <a:lstStyle/>
        <a:p>
          <a:endParaRPr lang="en-US"/>
        </a:p>
      </dgm:t>
    </dgm:pt>
    <dgm:pt modelId="{C869ADEC-0717-7F4F-ADC7-7E3ED51EFBFA}" type="sibTrans" cxnId="{88350E16-2D81-7F4D-B377-46C93E50A95B}">
      <dgm:prSet/>
      <dgm:spPr/>
      <dgm:t>
        <a:bodyPr/>
        <a:lstStyle/>
        <a:p>
          <a:endParaRPr lang="en-US"/>
        </a:p>
      </dgm:t>
    </dgm:pt>
    <dgm:pt modelId="{9536156B-1A46-FB4F-92D7-9465DBA4F17A}">
      <dgm:prSet phldrT="[Text]"/>
      <dgm:spPr/>
      <dgm:t>
        <a:bodyPr/>
        <a:lstStyle/>
        <a:p>
          <a:r>
            <a:rPr lang="en-US" dirty="0" err="1" smtClean="0"/>
            <a:t>Engageren</a:t>
          </a:r>
          <a:r>
            <a:rPr lang="en-US" dirty="0" smtClean="0"/>
            <a:t> van </a:t>
          </a:r>
          <a:r>
            <a:rPr lang="en-US" dirty="0" err="1" smtClean="0"/>
            <a:t>mensen</a:t>
          </a:r>
          <a:r>
            <a:rPr lang="en-US" dirty="0" smtClean="0"/>
            <a:t> op elk </a:t>
          </a:r>
          <a:r>
            <a:rPr lang="en-US" dirty="0" err="1" smtClean="0"/>
            <a:t>niveau</a:t>
          </a:r>
          <a:r>
            <a:rPr lang="en-US" dirty="0" smtClean="0"/>
            <a:t> van de </a:t>
          </a:r>
          <a:r>
            <a:rPr lang="en-US" dirty="0" err="1" smtClean="0"/>
            <a:t>organisatie</a:t>
          </a:r>
          <a:endParaRPr lang="en-US" dirty="0"/>
        </a:p>
      </dgm:t>
    </dgm:pt>
    <dgm:pt modelId="{3D9C23A1-1F04-9741-BFF9-CE12650620CC}" type="parTrans" cxnId="{87F15C5B-AB14-CF49-8D13-6B42618BF8FA}">
      <dgm:prSet/>
      <dgm:spPr/>
      <dgm:t>
        <a:bodyPr/>
        <a:lstStyle/>
        <a:p>
          <a:endParaRPr lang="en-US"/>
        </a:p>
      </dgm:t>
    </dgm:pt>
    <dgm:pt modelId="{985ED085-1610-B54F-B9AB-ABF178C84943}" type="sibTrans" cxnId="{87F15C5B-AB14-CF49-8D13-6B42618BF8FA}">
      <dgm:prSet/>
      <dgm:spPr/>
      <dgm:t>
        <a:bodyPr/>
        <a:lstStyle/>
        <a:p>
          <a:endParaRPr lang="en-US"/>
        </a:p>
      </dgm:t>
    </dgm:pt>
    <dgm:pt modelId="{D131B2A3-456F-8E45-801F-BEC925DCDE3B}">
      <dgm:prSet phldrT="[Text]"/>
      <dgm:spPr/>
      <dgm:t>
        <a:bodyPr/>
        <a:lstStyle/>
        <a:p>
          <a:r>
            <a:rPr lang="en-US" dirty="0" smtClean="0"/>
            <a:t>Training </a:t>
          </a:r>
          <a:r>
            <a:rPr lang="en-US" dirty="0" err="1" smtClean="0"/>
            <a:t>en</a:t>
          </a:r>
          <a:r>
            <a:rPr lang="en-US" dirty="0" smtClean="0"/>
            <a:t> </a:t>
          </a:r>
          <a:r>
            <a:rPr lang="en-US" dirty="0" err="1" smtClean="0"/>
            <a:t>cultuurverandering</a:t>
          </a:r>
          <a:endParaRPr lang="en-US" dirty="0"/>
        </a:p>
      </dgm:t>
    </dgm:pt>
    <dgm:pt modelId="{5BFCA934-3090-0B45-92EA-D0B31F36084E}" type="parTrans" cxnId="{FEF4411E-8045-404A-A3F5-2C1C4DBB139B}">
      <dgm:prSet/>
      <dgm:spPr/>
      <dgm:t>
        <a:bodyPr/>
        <a:lstStyle/>
        <a:p>
          <a:endParaRPr lang="en-US"/>
        </a:p>
      </dgm:t>
    </dgm:pt>
    <dgm:pt modelId="{7C8F696C-ED98-C34E-9C2B-C0E997E6342D}" type="sibTrans" cxnId="{FEF4411E-8045-404A-A3F5-2C1C4DBB139B}">
      <dgm:prSet/>
      <dgm:spPr/>
      <dgm:t>
        <a:bodyPr/>
        <a:lstStyle/>
        <a:p>
          <a:endParaRPr lang="en-US"/>
        </a:p>
      </dgm:t>
    </dgm:pt>
    <dgm:pt modelId="{90B3BD56-51DA-44E5-A9F7-8B9D229FCCE8}">
      <dgm:prSet phldrT="[Text]"/>
      <dgm:spPr/>
      <dgm:t>
        <a:bodyPr/>
        <a:lstStyle/>
        <a:p>
          <a:r>
            <a:rPr lang="en-US" dirty="0" smtClean="0"/>
            <a:t>Accountability: </a:t>
          </a:r>
          <a:r>
            <a:rPr lang="en-US" dirty="0" err="1" smtClean="0"/>
            <a:t>Aangepaste</a:t>
          </a:r>
          <a:r>
            <a:rPr lang="en-US" dirty="0" smtClean="0"/>
            <a:t> </a:t>
          </a:r>
          <a:r>
            <a:rPr lang="en-US" dirty="0" err="1" smtClean="0"/>
            <a:t>rechten</a:t>
          </a:r>
          <a:r>
            <a:rPr lang="en-US" dirty="0" smtClean="0"/>
            <a:t> </a:t>
          </a:r>
          <a:r>
            <a:rPr lang="en-US" dirty="0" err="1" smtClean="0"/>
            <a:t>en</a:t>
          </a:r>
          <a:r>
            <a:rPr lang="en-US" dirty="0" smtClean="0"/>
            <a:t> </a:t>
          </a:r>
          <a:r>
            <a:rPr lang="en-US" dirty="0" err="1" smtClean="0"/>
            <a:t>verantwoordelijk-heden</a:t>
          </a:r>
          <a:r>
            <a:rPr lang="en-US" dirty="0" smtClean="0"/>
            <a:t> </a:t>
          </a:r>
          <a:r>
            <a:rPr lang="en-US" dirty="0" err="1" smtClean="0"/>
            <a:t>bij</a:t>
          </a:r>
          <a:r>
            <a:rPr lang="en-US" dirty="0" smtClean="0"/>
            <a:t> de </a:t>
          </a:r>
          <a:r>
            <a:rPr lang="en-US" dirty="0" err="1" smtClean="0"/>
            <a:t>juiste</a:t>
          </a:r>
          <a:r>
            <a:rPr lang="en-US" dirty="0" smtClean="0"/>
            <a:t> </a:t>
          </a:r>
          <a:r>
            <a:rPr lang="en-US" dirty="0" err="1" smtClean="0"/>
            <a:t>mensen</a:t>
          </a:r>
          <a:endParaRPr lang="en-US" dirty="0"/>
        </a:p>
      </dgm:t>
    </dgm:pt>
    <dgm:pt modelId="{6826037B-8455-467F-A238-B571A7F12D9E}" type="parTrans" cxnId="{B0347A9D-05CE-429F-B06D-ADF940C37E5C}">
      <dgm:prSet/>
      <dgm:spPr/>
      <dgm:t>
        <a:bodyPr/>
        <a:lstStyle/>
        <a:p>
          <a:endParaRPr lang="nl-BE"/>
        </a:p>
      </dgm:t>
    </dgm:pt>
    <dgm:pt modelId="{4CECF91A-D812-4B9B-9D11-11B9760346C3}" type="sibTrans" cxnId="{B0347A9D-05CE-429F-B06D-ADF940C37E5C}">
      <dgm:prSet/>
      <dgm:spPr/>
      <dgm:t>
        <a:bodyPr/>
        <a:lstStyle/>
        <a:p>
          <a:endParaRPr lang="nl-BE"/>
        </a:p>
      </dgm:t>
    </dgm:pt>
    <dgm:pt modelId="{7A52F328-80BB-974F-82EC-BF87E60FB673}" type="pres">
      <dgm:prSet presAssocID="{9F76077F-2A3D-AF4F-A12C-852CC7D71B30}" presName="composite" presStyleCnt="0">
        <dgm:presLayoutVars>
          <dgm:chMax val="5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B395029-5069-5349-8AF8-92D7550C47B5}" type="pres">
      <dgm:prSet presAssocID="{9F76077F-2A3D-AF4F-A12C-852CC7D71B30}" presName="cycle" presStyleCnt="0"/>
      <dgm:spPr/>
      <dgm:t>
        <a:bodyPr/>
        <a:lstStyle/>
        <a:p>
          <a:endParaRPr lang="en-US"/>
        </a:p>
      </dgm:t>
    </dgm:pt>
    <dgm:pt modelId="{9951A76E-4E73-9446-A501-FAA0419954B6}" type="pres">
      <dgm:prSet presAssocID="{9F76077F-2A3D-AF4F-A12C-852CC7D71B30}" presName="centerShape" presStyleCnt="0"/>
      <dgm:spPr/>
      <dgm:t>
        <a:bodyPr/>
        <a:lstStyle/>
        <a:p>
          <a:endParaRPr lang="en-US"/>
        </a:p>
      </dgm:t>
    </dgm:pt>
    <dgm:pt modelId="{1F0ECF5D-5F67-B44A-93A0-A5DE1DE615F5}" type="pres">
      <dgm:prSet presAssocID="{9F76077F-2A3D-AF4F-A12C-852CC7D71B30}" presName="connSite" presStyleLbl="node1" presStyleIdx="0" presStyleCnt="4"/>
      <dgm:spPr/>
      <dgm:t>
        <a:bodyPr/>
        <a:lstStyle/>
        <a:p>
          <a:endParaRPr lang="en-US"/>
        </a:p>
      </dgm:t>
    </dgm:pt>
    <dgm:pt modelId="{982A8FB3-A2CB-434E-AE22-C6B4CFEDE234}" type="pres">
      <dgm:prSet presAssocID="{9F76077F-2A3D-AF4F-A12C-852CC7D71B30}" presName="visible" presStyleLbl="node1" presStyleIdx="0" presStyleCnt="4" custScaleX="106835" custScaleY="103303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effectLst>
          <a:innerShdw blurRad="63500" dist="50800" dir="18900000">
            <a:prstClr val="black">
              <a:alpha val="50000"/>
            </a:prstClr>
          </a:innerShdw>
        </a:effectLst>
      </dgm:spPr>
      <dgm:t>
        <a:bodyPr/>
        <a:lstStyle/>
        <a:p>
          <a:endParaRPr lang="en-US"/>
        </a:p>
      </dgm:t>
    </dgm:pt>
    <dgm:pt modelId="{92208ABA-2A8B-0046-9CCD-784E5DE26956}" type="pres">
      <dgm:prSet presAssocID="{B335BC17-E8E1-BC48-9F6F-AC8FA00D4245}" presName="Name25" presStyleLbl="parChTrans1D1" presStyleIdx="0" presStyleCnt="3"/>
      <dgm:spPr/>
      <dgm:t>
        <a:bodyPr/>
        <a:lstStyle/>
        <a:p>
          <a:endParaRPr lang="en-US"/>
        </a:p>
      </dgm:t>
    </dgm:pt>
    <dgm:pt modelId="{86FFEB01-2C5B-C345-A413-B2870F43D23B}" type="pres">
      <dgm:prSet presAssocID="{6165695C-02AE-1F43-B001-C0C026C0E83E}" presName="node" presStyleCnt="0"/>
      <dgm:spPr/>
      <dgm:t>
        <a:bodyPr/>
        <a:lstStyle/>
        <a:p>
          <a:endParaRPr lang="en-US"/>
        </a:p>
      </dgm:t>
    </dgm:pt>
    <dgm:pt modelId="{D255C057-5BAE-3646-8CA3-B98EC3891E99}" type="pres">
      <dgm:prSet presAssocID="{6165695C-02AE-1F43-B001-C0C026C0E83E}" presName="parentNode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E7E566-6CCA-0341-82F7-E4128D986666}" type="pres">
      <dgm:prSet presAssocID="{6165695C-02AE-1F43-B001-C0C026C0E83E}" presName="childNode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588B64-34DC-2B4F-8DC9-F17FE9611307}" type="pres">
      <dgm:prSet presAssocID="{BB980460-B78A-DB4E-ACAF-FBE185243189}" presName="Name25" presStyleLbl="parChTrans1D1" presStyleIdx="1" presStyleCnt="3"/>
      <dgm:spPr/>
      <dgm:t>
        <a:bodyPr/>
        <a:lstStyle/>
        <a:p>
          <a:endParaRPr lang="en-US"/>
        </a:p>
      </dgm:t>
    </dgm:pt>
    <dgm:pt modelId="{13C0C05A-5DB4-9745-BAB9-BC8E23EDCD91}" type="pres">
      <dgm:prSet presAssocID="{EE3D2F82-1F20-1541-8666-F1AD5481E3C9}" presName="node" presStyleCnt="0"/>
      <dgm:spPr/>
      <dgm:t>
        <a:bodyPr/>
        <a:lstStyle/>
        <a:p>
          <a:endParaRPr lang="en-US"/>
        </a:p>
      </dgm:t>
    </dgm:pt>
    <dgm:pt modelId="{C3C3603F-5207-AF4C-868C-553F79756188}" type="pres">
      <dgm:prSet presAssocID="{EE3D2F82-1F20-1541-8666-F1AD5481E3C9}" presName="parentNode" presStyleLbl="node1" presStyleIdx="2" presStyleCnt="4" custLinFactNeighborX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8C9257-6776-ED41-B9D9-B9DBE6675D58}" type="pres">
      <dgm:prSet presAssocID="{EE3D2F82-1F20-1541-8666-F1AD5481E3C9}" presName="childNode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C33DFF-0490-AB4B-9E59-E7CCE17D3E75}" type="pres">
      <dgm:prSet presAssocID="{3649E684-FDB2-F945-9A71-04E0A0FDFBED}" presName="Name25" presStyleLbl="parChTrans1D1" presStyleIdx="2" presStyleCnt="3"/>
      <dgm:spPr/>
      <dgm:t>
        <a:bodyPr/>
        <a:lstStyle/>
        <a:p>
          <a:endParaRPr lang="en-US"/>
        </a:p>
      </dgm:t>
    </dgm:pt>
    <dgm:pt modelId="{BC512C2A-DCD5-E140-B3F4-85891B94E078}" type="pres">
      <dgm:prSet presAssocID="{E7968332-D92B-1B4D-827D-6556449F334C}" presName="node" presStyleCnt="0"/>
      <dgm:spPr/>
      <dgm:t>
        <a:bodyPr/>
        <a:lstStyle/>
        <a:p>
          <a:endParaRPr lang="en-US"/>
        </a:p>
      </dgm:t>
    </dgm:pt>
    <dgm:pt modelId="{525383A6-AAC1-8F45-84B7-64366D0E361C}" type="pres">
      <dgm:prSet presAssocID="{E7968332-D92B-1B4D-827D-6556449F334C}" presName="parentNode" presStyleLbl="node1" presStyleIdx="3" presStyleCnt="4" custScaleX="108199" custScaleY="99755" custLinFactNeighborX="215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A5CD01-CEE2-C44A-8A18-CAA0D1F76B7E}" type="pres">
      <dgm:prSet presAssocID="{E7968332-D92B-1B4D-827D-6556449F334C}" presName="childNode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410C028-7322-40AA-AFF1-DE1EDBB3B68C}" type="presOf" srcId="{6165695C-02AE-1F43-B001-C0C026C0E83E}" destId="{D255C057-5BAE-3646-8CA3-B98EC3891E99}" srcOrd="0" destOrd="0" presId="urn:microsoft.com/office/officeart/2005/8/layout/radial2"/>
    <dgm:cxn modelId="{266B52D6-0FED-4F9F-BD20-14DBB321A9D7}" type="presOf" srcId="{65DC491B-5CD7-6741-98F2-62F7AC63A4A7}" destId="{7FE7E566-6CCA-0341-82F7-E4128D986666}" srcOrd="0" destOrd="1" presId="urn:microsoft.com/office/officeart/2005/8/layout/radial2"/>
    <dgm:cxn modelId="{B0347A9D-05CE-429F-B06D-ADF940C37E5C}" srcId="{EE3D2F82-1F20-1541-8666-F1AD5481E3C9}" destId="{90B3BD56-51DA-44E5-A9F7-8B9D229FCCE8}" srcOrd="1" destOrd="0" parTransId="{6826037B-8455-467F-A238-B571A7F12D9E}" sibTransId="{4CECF91A-D812-4B9B-9D11-11B9760346C3}"/>
    <dgm:cxn modelId="{FEF4411E-8045-404A-A3F5-2C1C4DBB139B}" srcId="{E7968332-D92B-1B4D-827D-6556449F334C}" destId="{D131B2A3-456F-8E45-801F-BEC925DCDE3B}" srcOrd="2" destOrd="0" parTransId="{5BFCA934-3090-0B45-92EA-D0B31F36084E}" sibTransId="{7C8F696C-ED98-C34E-9C2B-C0E997E6342D}"/>
    <dgm:cxn modelId="{AFBED700-510A-CE4C-B9E0-E7509B996A87}" srcId="{6165695C-02AE-1F43-B001-C0C026C0E83E}" destId="{E7B939B9-367D-A640-B5DB-84C96A3ECF1A}" srcOrd="0" destOrd="0" parTransId="{76EA62EE-7E43-4A46-99D0-B1F593B5CA0E}" sibTransId="{51F8D282-1F36-7348-A94A-D0D38695B7D7}"/>
    <dgm:cxn modelId="{87F15C5B-AB14-CF49-8D13-6B42618BF8FA}" srcId="{E7968332-D92B-1B4D-827D-6556449F334C}" destId="{9536156B-1A46-FB4F-92D7-9465DBA4F17A}" srcOrd="1" destOrd="0" parTransId="{3D9C23A1-1F04-9741-BFF9-CE12650620CC}" sibTransId="{985ED085-1610-B54F-B9AB-ABF178C84943}"/>
    <dgm:cxn modelId="{7F38F659-A431-43FB-94AB-D6F795412EDB}" type="presOf" srcId="{D131B2A3-456F-8E45-801F-BEC925DCDE3B}" destId="{1CA5CD01-CEE2-C44A-8A18-CAA0D1F76B7E}" srcOrd="0" destOrd="2" presId="urn:microsoft.com/office/officeart/2005/8/layout/radial2"/>
    <dgm:cxn modelId="{CA78F227-4CAD-4945-A60F-B724D159AC3C}" type="presOf" srcId="{E7B939B9-367D-A640-B5DB-84C96A3ECF1A}" destId="{7FE7E566-6CCA-0341-82F7-E4128D986666}" srcOrd="0" destOrd="0" presId="urn:microsoft.com/office/officeart/2005/8/layout/radial2"/>
    <dgm:cxn modelId="{9E95DD34-BE4C-4D84-8054-9F8C1C1F7067}" type="presOf" srcId="{B335BC17-E8E1-BC48-9F6F-AC8FA00D4245}" destId="{92208ABA-2A8B-0046-9CCD-784E5DE26956}" srcOrd="0" destOrd="0" presId="urn:microsoft.com/office/officeart/2005/8/layout/radial2"/>
    <dgm:cxn modelId="{400BEB5F-E97A-413B-BDB1-B4B2A7167752}" type="presOf" srcId="{E7968332-D92B-1B4D-827D-6556449F334C}" destId="{525383A6-AAC1-8F45-84B7-64366D0E361C}" srcOrd="0" destOrd="0" presId="urn:microsoft.com/office/officeart/2005/8/layout/radial2"/>
    <dgm:cxn modelId="{5EBA3B3A-76C6-6740-B308-E6FC2291FC93}" srcId="{E7968332-D92B-1B4D-827D-6556449F334C}" destId="{5D4A7D1D-AB1A-E94C-B60F-8E3A70FAA498}" srcOrd="0" destOrd="0" parTransId="{8E062147-8780-9248-9341-98A7B5D70E7E}" sibTransId="{E0E3714C-7E1C-3C48-832C-2D484052EAAA}"/>
    <dgm:cxn modelId="{88350E16-2D81-7F4D-B377-46C93E50A95B}" srcId="{6165695C-02AE-1F43-B001-C0C026C0E83E}" destId="{E4A335AD-9CB1-6148-A752-8D148F50A8C3}" srcOrd="2" destOrd="0" parTransId="{EE87B7C4-4238-7E42-AC22-7B651CF70690}" sibTransId="{C869ADEC-0717-7F4F-ADC7-7E3ED51EFBFA}"/>
    <dgm:cxn modelId="{700A36A9-B5FD-944F-BFAC-582806FD2C5D}" srcId="{9F76077F-2A3D-AF4F-A12C-852CC7D71B30}" destId="{E7968332-D92B-1B4D-827D-6556449F334C}" srcOrd="2" destOrd="0" parTransId="{3649E684-FDB2-F945-9A71-04E0A0FDFBED}" sibTransId="{493568A4-3B40-0645-9157-A8C44792A715}"/>
    <dgm:cxn modelId="{C1B4E8EF-C419-4B77-AE74-3AA852414B1E}" type="presOf" srcId="{9536156B-1A46-FB4F-92D7-9465DBA4F17A}" destId="{1CA5CD01-CEE2-C44A-8A18-CAA0D1F76B7E}" srcOrd="0" destOrd="1" presId="urn:microsoft.com/office/officeart/2005/8/layout/radial2"/>
    <dgm:cxn modelId="{20FB77F9-6FD8-6B49-9F01-78109CF0C320}" srcId="{6165695C-02AE-1F43-B001-C0C026C0E83E}" destId="{65DC491B-5CD7-6741-98F2-62F7AC63A4A7}" srcOrd="1" destOrd="0" parTransId="{37143702-A9B2-514A-B56F-843571CDE78C}" sibTransId="{5243A895-4499-0043-B8D9-9A8F4187A976}"/>
    <dgm:cxn modelId="{8CCE0DDD-242D-4881-8653-B6D89C7B221D}" type="presOf" srcId="{EE3D2F82-1F20-1541-8666-F1AD5481E3C9}" destId="{C3C3603F-5207-AF4C-868C-553F79756188}" srcOrd="0" destOrd="0" presId="urn:microsoft.com/office/officeart/2005/8/layout/radial2"/>
    <dgm:cxn modelId="{79E44F9D-6723-44AE-9465-8AA664E97E74}" type="presOf" srcId="{BB980460-B78A-DB4E-ACAF-FBE185243189}" destId="{65588B64-34DC-2B4F-8DC9-F17FE9611307}" srcOrd="0" destOrd="0" presId="urn:microsoft.com/office/officeart/2005/8/layout/radial2"/>
    <dgm:cxn modelId="{880D4480-A535-2D40-9BAB-CDC3A2B03DA0}" srcId="{9F76077F-2A3D-AF4F-A12C-852CC7D71B30}" destId="{EE3D2F82-1F20-1541-8666-F1AD5481E3C9}" srcOrd="1" destOrd="0" parTransId="{BB980460-B78A-DB4E-ACAF-FBE185243189}" sibTransId="{051592C7-7370-2942-B4B3-6703D82C3EAB}"/>
    <dgm:cxn modelId="{46163EC6-53C5-F243-B788-21022D5506A3}" srcId="{EE3D2F82-1F20-1541-8666-F1AD5481E3C9}" destId="{6DB3F070-141C-A74C-AE2E-8D9E7991C73B}" srcOrd="0" destOrd="0" parTransId="{27A711A5-8075-DE4F-8158-83185B259DBA}" sibTransId="{0CAE1288-E3C6-D049-B69B-268762D13C61}"/>
    <dgm:cxn modelId="{D1B54D11-F59E-1947-98C7-A7604A1E7ED1}" srcId="{9F76077F-2A3D-AF4F-A12C-852CC7D71B30}" destId="{6165695C-02AE-1F43-B001-C0C026C0E83E}" srcOrd="0" destOrd="0" parTransId="{B335BC17-E8E1-BC48-9F6F-AC8FA00D4245}" sibTransId="{597AB0A5-6F65-724C-BE86-B03E49679042}"/>
    <dgm:cxn modelId="{67E11CE4-4A56-4038-87BF-22451E67E650}" type="presOf" srcId="{E4A335AD-9CB1-6148-A752-8D148F50A8C3}" destId="{7FE7E566-6CCA-0341-82F7-E4128D986666}" srcOrd="0" destOrd="2" presId="urn:microsoft.com/office/officeart/2005/8/layout/radial2"/>
    <dgm:cxn modelId="{FA5960C1-609E-4361-8155-FF99A33E6DB5}" type="presOf" srcId="{3649E684-FDB2-F945-9A71-04E0A0FDFBED}" destId="{FFC33DFF-0490-AB4B-9E59-E7CCE17D3E75}" srcOrd="0" destOrd="0" presId="urn:microsoft.com/office/officeart/2005/8/layout/radial2"/>
    <dgm:cxn modelId="{307E8D19-C2BF-4B9C-B384-898517A7C579}" type="presOf" srcId="{90B3BD56-51DA-44E5-A9F7-8B9D229FCCE8}" destId="{EB8C9257-6776-ED41-B9D9-B9DBE6675D58}" srcOrd="0" destOrd="1" presId="urn:microsoft.com/office/officeart/2005/8/layout/radial2"/>
    <dgm:cxn modelId="{4FDB2A34-63A1-414F-ADF2-82C8E46DED6B}" type="presOf" srcId="{5D4A7D1D-AB1A-E94C-B60F-8E3A70FAA498}" destId="{1CA5CD01-CEE2-C44A-8A18-CAA0D1F76B7E}" srcOrd="0" destOrd="0" presId="urn:microsoft.com/office/officeart/2005/8/layout/radial2"/>
    <dgm:cxn modelId="{9A0DA4D8-7863-4837-B38D-21502AC93C15}" type="presOf" srcId="{6DB3F070-141C-A74C-AE2E-8D9E7991C73B}" destId="{EB8C9257-6776-ED41-B9D9-B9DBE6675D58}" srcOrd="0" destOrd="0" presId="urn:microsoft.com/office/officeart/2005/8/layout/radial2"/>
    <dgm:cxn modelId="{3CAB6B34-7619-47C9-AF3E-4FFE39BC121E}" type="presOf" srcId="{9F76077F-2A3D-AF4F-A12C-852CC7D71B30}" destId="{7A52F328-80BB-974F-82EC-BF87E60FB673}" srcOrd="0" destOrd="0" presId="urn:microsoft.com/office/officeart/2005/8/layout/radial2"/>
    <dgm:cxn modelId="{074E6E57-5B19-429F-A7A4-6377F556351D}" type="presParOf" srcId="{7A52F328-80BB-974F-82EC-BF87E60FB673}" destId="{AB395029-5069-5349-8AF8-92D7550C47B5}" srcOrd="0" destOrd="0" presId="urn:microsoft.com/office/officeart/2005/8/layout/radial2"/>
    <dgm:cxn modelId="{61A69EFA-8470-43AD-866C-B9F73324B2C0}" type="presParOf" srcId="{AB395029-5069-5349-8AF8-92D7550C47B5}" destId="{9951A76E-4E73-9446-A501-FAA0419954B6}" srcOrd="0" destOrd="0" presId="urn:microsoft.com/office/officeart/2005/8/layout/radial2"/>
    <dgm:cxn modelId="{709BE028-9AA6-46D3-9D05-F54D594B40C2}" type="presParOf" srcId="{9951A76E-4E73-9446-A501-FAA0419954B6}" destId="{1F0ECF5D-5F67-B44A-93A0-A5DE1DE615F5}" srcOrd="0" destOrd="0" presId="urn:microsoft.com/office/officeart/2005/8/layout/radial2"/>
    <dgm:cxn modelId="{A5B636ED-ED3C-40C5-8F6C-92F11B79FE61}" type="presParOf" srcId="{9951A76E-4E73-9446-A501-FAA0419954B6}" destId="{982A8FB3-A2CB-434E-AE22-C6B4CFEDE234}" srcOrd="1" destOrd="0" presId="urn:microsoft.com/office/officeart/2005/8/layout/radial2"/>
    <dgm:cxn modelId="{357E0C6F-FCFA-4CD2-82F4-E8AFF24DE415}" type="presParOf" srcId="{AB395029-5069-5349-8AF8-92D7550C47B5}" destId="{92208ABA-2A8B-0046-9CCD-784E5DE26956}" srcOrd="1" destOrd="0" presId="urn:microsoft.com/office/officeart/2005/8/layout/radial2"/>
    <dgm:cxn modelId="{223DAF50-EF8B-43B3-99A2-759683507EDA}" type="presParOf" srcId="{AB395029-5069-5349-8AF8-92D7550C47B5}" destId="{86FFEB01-2C5B-C345-A413-B2870F43D23B}" srcOrd="2" destOrd="0" presId="urn:microsoft.com/office/officeart/2005/8/layout/radial2"/>
    <dgm:cxn modelId="{E5874116-A4F4-422F-B2FD-0EFBCDDFFB9B}" type="presParOf" srcId="{86FFEB01-2C5B-C345-A413-B2870F43D23B}" destId="{D255C057-5BAE-3646-8CA3-B98EC3891E99}" srcOrd="0" destOrd="0" presId="urn:microsoft.com/office/officeart/2005/8/layout/radial2"/>
    <dgm:cxn modelId="{7E3DFE9A-8029-4394-A4DD-434BD442D0C1}" type="presParOf" srcId="{86FFEB01-2C5B-C345-A413-B2870F43D23B}" destId="{7FE7E566-6CCA-0341-82F7-E4128D986666}" srcOrd="1" destOrd="0" presId="urn:microsoft.com/office/officeart/2005/8/layout/radial2"/>
    <dgm:cxn modelId="{9CB1D064-666D-47A5-B4C8-426B2695C773}" type="presParOf" srcId="{AB395029-5069-5349-8AF8-92D7550C47B5}" destId="{65588B64-34DC-2B4F-8DC9-F17FE9611307}" srcOrd="3" destOrd="0" presId="urn:microsoft.com/office/officeart/2005/8/layout/radial2"/>
    <dgm:cxn modelId="{028CDF6A-9232-42D5-8E8F-B3A865FD82AC}" type="presParOf" srcId="{AB395029-5069-5349-8AF8-92D7550C47B5}" destId="{13C0C05A-5DB4-9745-BAB9-BC8E23EDCD91}" srcOrd="4" destOrd="0" presId="urn:microsoft.com/office/officeart/2005/8/layout/radial2"/>
    <dgm:cxn modelId="{18AAA9C5-977B-4687-991D-7125168B8294}" type="presParOf" srcId="{13C0C05A-5DB4-9745-BAB9-BC8E23EDCD91}" destId="{C3C3603F-5207-AF4C-868C-553F79756188}" srcOrd="0" destOrd="0" presId="urn:microsoft.com/office/officeart/2005/8/layout/radial2"/>
    <dgm:cxn modelId="{C3DF52E0-0344-44A8-840D-03BD2F853A8B}" type="presParOf" srcId="{13C0C05A-5DB4-9745-BAB9-BC8E23EDCD91}" destId="{EB8C9257-6776-ED41-B9D9-B9DBE6675D58}" srcOrd="1" destOrd="0" presId="urn:microsoft.com/office/officeart/2005/8/layout/radial2"/>
    <dgm:cxn modelId="{E2C79462-F981-4ECA-AEBD-7D1936A49692}" type="presParOf" srcId="{AB395029-5069-5349-8AF8-92D7550C47B5}" destId="{FFC33DFF-0490-AB4B-9E59-E7CCE17D3E75}" srcOrd="5" destOrd="0" presId="urn:microsoft.com/office/officeart/2005/8/layout/radial2"/>
    <dgm:cxn modelId="{A5394323-19E9-4391-9E4C-19428560C0D1}" type="presParOf" srcId="{AB395029-5069-5349-8AF8-92D7550C47B5}" destId="{BC512C2A-DCD5-E140-B3F4-85891B94E078}" srcOrd="6" destOrd="0" presId="urn:microsoft.com/office/officeart/2005/8/layout/radial2"/>
    <dgm:cxn modelId="{E9AC10A3-E359-43AF-A180-88B32D5E7398}" type="presParOf" srcId="{BC512C2A-DCD5-E140-B3F4-85891B94E078}" destId="{525383A6-AAC1-8F45-84B7-64366D0E361C}" srcOrd="0" destOrd="0" presId="urn:microsoft.com/office/officeart/2005/8/layout/radial2"/>
    <dgm:cxn modelId="{7821BAB0-24EF-4D80-B160-95A1CB95DEA4}" type="presParOf" srcId="{BC512C2A-DCD5-E140-B3F4-85891B94E078}" destId="{1CA5CD01-CEE2-C44A-8A18-CAA0D1F76B7E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noFill/>
      </dgm:spPr>
      <dgm:t>
        <a:bodyPr/>
        <a:lstStyle/>
        <a:p>
          <a:endParaRPr lang="fr-CA" sz="24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fr-CA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fr-CA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1" custLinFactY="75710" custLinFactNeighborX="-275" custLinFactNeighborY="100000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5B1F606B-C6A1-4182-AB54-0448392B08EC}" type="presOf" srcId="{DFDB99B7-47FC-430D-9BEF-A0040781E1F4}" destId="{0A67CC49-5030-4FFF-81A9-4EFA003F6B4E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3E3C8396-45C4-47E9-A5B0-72F36C5DA3DA}" type="presOf" srcId="{66786007-6037-4CE6-A51C-05FC76FF82D0}" destId="{062B82BB-9264-4BB3-AAA5-081B6E78A7D0}" srcOrd="0" destOrd="0" presId="urn:microsoft.com/office/officeart/2005/8/layout/hChevron3"/>
    <dgm:cxn modelId="{8540B55F-AF03-48DD-B8EB-A43A6411F1E1}" type="presParOf" srcId="{062B82BB-9264-4BB3-AAA5-081B6E78A7D0}" destId="{0A67CC49-5030-4FFF-81A9-4EFA003F6B4E}" srcOrd="0" destOrd="0" presId="urn:microsoft.com/office/officeart/2005/8/layout/hChevron3"/>
  </dgm:cxnLst>
  <dgm:bg/>
  <dgm:whole>
    <a:ln w="57150" cmpd="sng">
      <a:solidFill>
        <a:srgbClr val="7EB606"/>
      </a:solidFill>
    </a:ln>
  </dgm:whole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7CC934"/>
        </a:solidFill>
      </dgm:spPr>
      <dgm:t>
        <a:bodyPr/>
        <a:lstStyle/>
        <a:p>
          <a:r>
            <a:rPr lang="en-GB" sz="1200" b="1" noProof="0" dirty="0" smtClean="0"/>
            <a:t>Gap </a:t>
          </a:r>
          <a:r>
            <a:rPr lang="en-GB" sz="1200" b="1" noProof="0" dirty="0" err="1" smtClean="0"/>
            <a:t>identificatie</a:t>
          </a:r>
          <a:endParaRPr lang="en-GB" sz="12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12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1200" b="1" noProof="0"/>
        </a:p>
      </dgm:t>
    </dgm:pt>
    <dgm:pt modelId="{6CF6E163-68F9-42F4-89E9-373E1035A239}">
      <dgm:prSet phldrT="[Texte]" custT="1"/>
      <dgm:spPr>
        <a:solidFill>
          <a:srgbClr val="7CC934"/>
        </a:solidFill>
      </dgm:spPr>
      <dgm:t>
        <a:bodyPr/>
        <a:lstStyle/>
        <a:p>
          <a:r>
            <a:rPr lang="en-GB" sz="1200" b="1" noProof="0" dirty="0" err="1" smtClean="0"/>
            <a:t>Diagnostiek</a:t>
          </a:r>
          <a:endParaRPr lang="en-GB" sz="12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12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1200" b="1" noProof="0"/>
        </a:p>
      </dgm:t>
    </dgm:pt>
    <dgm:pt modelId="{AC9FC650-12AE-4225-A2A4-727DA87A1D19}">
      <dgm:prSet phldrT="[Texte]" custT="1"/>
      <dgm:spPr>
        <a:solidFill>
          <a:srgbClr val="7CC934"/>
        </a:solidFill>
      </dgm:spPr>
      <dgm:t>
        <a:bodyPr/>
        <a:lstStyle/>
        <a:p>
          <a:r>
            <a:rPr lang="en-GB" sz="1200" b="1" noProof="0" dirty="0" err="1" smtClean="0"/>
            <a:t>Modellering</a:t>
          </a:r>
          <a:endParaRPr lang="en-GB" sz="12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12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1200" b="1" noProof="0"/>
        </a:p>
      </dgm:t>
    </dgm:pt>
    <dgm:pt modelId="{D975BD1E-6575-4B4E-BBA3-A2D1DACF1963}">
      <dgm:prSet phldrT="[Texte]" custT="1"/>
      <dgm:spPr>
        <a:solidFill>
          <a:srgbClr val="7CC934"/>
        </a:solidFill>
      </dgm:spPr>
      <dgm:t>
        <a:bodyPr/>
        <a:lstStyle/>
        <a:p>
          <a:r>
            <a:rPr lang="en-GB" sz="1200" b="1" noProof="0" dirty="0" err="1" smtClean="0"/>
            <a:t>Implemen-tatie</a:t>
          </a:r>
          <a:endParaRPr lang="en-GB" sz="12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12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1200" b="1" noProof="0"/>
        </a:p>
      </dgm:t>
    </dgm:pt>
    <dgm:pt modelId="{A6B5D113-7F3C-4C6C-A72C-DDB921C949C9}">
      <dgm:prSet phldrT="[Texte]" custT="1"/>
      <dgm:spPr>
        <a:solidFill>
          <a:srgbClr val="7CC934"/>
        </a:solidFill>
      </dgm:spPr>
      <dgm:t>
        <a:bodyPr/>
        <a:lstStyle/>
        <a:p>
          <a:r>
            <a:rPr lang="en-GB" sz="1200" b="1" noProof="0" smtClean="0"/>
            <a:t>Training</a:t>
          </a:r>
          <a:endParaRPr lang="en-GB" sz="12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12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1200" b="1" noProof="0"/>
        </a:p>
      </dgm:t>
    </dgm:pt>
    <dgm:pt modelId="{7C199027-1063-498C-BB99-9FA2675558DF}">
      <dgm:prSet phldrT="[Texte]" custT="1"/>
      <dgm:spPr>
        <a:solidFill>
          <a:srgbClr val="7CC934"/>
        </a:solidFill>
      </dgm:spPr>
      <dgm:t>
        <a:bodyPr/>
        <a:lstStyle/>
        <a:p>
          <a:r>
            <a:rPr lang="en-GB" sz="1200" b="1" noProof="0" dirty="0" err="1" smtClean="0"/>
            <a:t>Opvolging</a:t>
          </a:r>
          <a:endParaRPr lang="en-GB" sz="12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12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12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246A41D9-16FC-4BEA-A8B0-6CCD9EFC5D3B}" type="presOf" srcId="{DFDB99B7-47FC-430D-9BEF-A0040781E1F4}" destId="{0A67CC49-5030-4FFF-81A9-4EFA003F6B4E}" srcOrd="0" destOrd="0" presId="urn:microsoft.com/office/officeart/2005/8/layout/hChevron3"/>
    <dgm:cxn modelId="{9B092A5F-1A2D-405F-A198-8CA1996A0EAD}" type="presOf" srcId="{7C199027-1063-498C-BB99-9FA2675558DF}" destId="{3A2948AC-8449-4A60-A4DA-3C870472F676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C6E03C8D-C61D-4AED-8A0A-9B5F5F4F269B}" type="presOf" srcId="{D975BD1E-6575-4B4E-BBA3-A2D1DACF1963}" destId="{5DBBB54C-4C5C-422F-BE37-71270213C408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445B2824-7E0D-4700-AF7D-9A04F5AC2108}" type="presOf" srcId="{6CF6E163-68F9-42F4-89E9-373E1035A239}" destId="{5EF59913-DB1A-4C1B-9E88-C21503965DF7}" srcOrd="0" destOrd="0" presId="urn:microsoft.com/office/officeart/2005/8/layout/hChevron3"/>
    <dgm:cxn modelId="{B0B078A5-C006-494F-97F3-FF660BBEFC96}" type="presOf" srcId="{AC9FC650-12AE-4225-A2A4-727DA87A1D19}" destId="{DE04C892-9986-4C11-8E82-93F285815BAD}" srcOrd="0" destOrd="0" presId="urn:microsoft.com/office/officeart/2005/8/layout/hChevron3"/>
    <dgm:cxn modelId="{D8AF3664-5061-4151-8E31-6CAE797AE114}" type="presOf" srcId="{A6B5D113-7F3C-4C6C-A72C-DDB921C949C9}" destId="{557A5E4A-F1F5-4749-B988-E763089FCFBE}" srcOrd="0" destOrd="0" presId="urn:microsoft.com/office/officeart/2005/8/layout/hChevron3"/>
    <dgm:cxn modelId="{39437B2E-FFE1-4683-B93C-FA23593AF537}" type="presOf" srcId="{66786007-6037-4CE6-A51C-05FC76FF82D0}" destId="{062B82BB-9264-4BB3-AAA5-081B6E78A7D0}" srcOrd="0" destOrd="0" presId="urn:microsoft.com/office/officeart/2005/8/layout/hChevron3"/>
    <dgm:cxn modelId="{4DBBD791-8A5C-4553-B9C2-0FA864EA957B}" type="presParOf" srcId="{062B82BB-9264-4BB3-AAA5-081B6E78A7D0}" destId="{0A67CC49-5030-4FFF-81A9-4EFA003F6B4E}" srcOrd="0" destOrd="0" presId="urn:microsoft.com/office/officeart/2005/8/layout/hChevron3"/>
    <dgm:cxn modelId="{D1705942-E539-4BAC-A534-5F96A5CA9744}" type="presParOf" srcId="{062B82BB-9264-4BB3-AAA5-081B6E78A7D0}" destId="{53CEB83C-295A-4950-8109-56EE269D6D57}" srcOrd="1" destOrd="0" presId="urn:microsoft.com/office/officeart/2005/8/layout/hChevron3"/>
    <dgm:cxn modelId="{E9D44C4F-CE3E-4701-AFE1-49AE9F5BCB85}" type="presParOf" srcId="{062B82BB-9264-4BB3-AAA5-081B6E78A7D0}" destId="{5EF59913-DB1A-4C1B-9E88-C21503965DF7}" srcOrd="2" destOrd="0" presId="urn:microsoft.com/office/officeart/2005/8/layout/hChevron3"/>
    <dgm:cxn modelId="{1FC5E530-EF4C-446C-AB68-902D520AA8F4}" type="presParOf" srcId="{062B82BB-9264-4BB3-AAA5-081B6E78A7D0}" destId="{D0CE9A0C-C1D6-4A8B-9617-A220472D6F88}" srcOrd="3" destOrd="0" presId="urn:microsoft.com/office/officeart/2005/8/layout/hChevron3"/>
    <dgm:cxn modelId="{4E07736E-6994-44A8-8B4B-4450011DEB17}" type="presParOf" srcId="{062B82BB-9264-4BB3-AAA5-081B6E78A7D0}" destId="{DE04C892-9986-4C11-8E82-93F285815BAD}" srcOrd="4" destOrd="0" presId="urn:microsoft.com/office/officeart/2005/8/layout/hChevron3"/>
    <dgm:cxn modelId="{743D5873-D3FD-4A4A-BF62-D96D6D0DF0FE}" type="presParOf" srcId="{062B82BB-9264-4BB3-AAA5-081B6E78A7D0}" destId="{CB63BD15-021D-40AB-930F-8029DE744502}" srcOrd="5" destOrd="0" presId="urn:microsoft.com/office/officeart/2005/8/layout/hChevron3"/>
    <dgm:cxn modelId="{CA46E2AF-4200-4464-80D8-BDDF77EE2A90}" type="presParOf" srcId="{062B82BB-9264-4BB3-AAA5-081B6E78A7D0}" destId="{5DBBB54C-4C5C-422F-BE37-71270213C408}" srcOrd="6" destOrd="0" presId="urn:microsoft.com/office/officeart/2005/8/layout/hChevron3"/>
    <dgm:cxn modelId="{CB55EBE9-78D5-4931-80AC-DA3622C4113F}" type="presParOf" srcId="{062B82BB-9264-4BB3-AAA5-081B6E78A7D0}" destId="{8A383658-2EBF-45AC-9C3A-45E6A9B769D0}" srcOrd="7" destOrd="0" presId="urn:microsoft.com/office/officeart/2005/8/layout/hChevron3"/>
    <dgm:cxn modelId="{3FDB537B-3D0D-4401-A2FC-4BD7CA253FF2}" type="presParOf" srcId="{062B82BB-9264-4BB3-AAA5-081B6E78A7D0}" destId="{557A5E4A-F1F5-4749-B988-E763089FCFBE}" srcOrd="8" destOrd="0" presId="urn:microsoft.com/office/officeart/2005/8/layout/hChevron3"/>
    <dgm:cxn modelId="{D77B058A-D331-406B-AB8E-E0AA7E9D04FD}" type="presParOf" srcId="{062B82BB-9264-4BB3-AAA5-081B6E78A7D0}" destId="{6633CB3B-0208-4BF6-83D6-4DDE2CC08617}" srcOrd="9" destOrd="0" presId="urn:microsoft.com/office/officeart/2005/8/layout/hChevron3"/>
    <dgm:cxn modelId="{D0FD338B-54C1-42D6-BEA7-039554FF8A92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3" qsCatId="simple" csTypeId="urn:microsoft.com/office/officeart/2005/8/colors/accent0_1" csCatId="mainScheme" phldr="1"/>
      <dgm:spPr/>
    </dgm:pt>
    <dgm:pt modelId="{DFDB99B7-47FC-430D-9BEF-A0040781E1F4}">
      <dgm:prSet phldrT="[Texte]"/>
      <dgm:spPr>
        <a:ln w="57150" cmpd="sng">
          <a:solidFill>
            <a:srgbClr val="7EB606"/>
          </a:solidFill>
        </a:ln>
      </dgm:spPr>
      <dgm:t>
        <a:bodyPr/>
        <a:lstStyle/>
        <a:p>
          <a:endParaRPr lang="fr-CA" b="1" dirty="0">
            <a:ln>
              <a:solidFill>
                <a:schemeClr val="accent5"/>
              </a:solidFill>
            </a:ln>
            <a:solidFill>
              <a:schemeClr val="tx1"/>
            </a:solidFill>
          </a:endParaRPr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fr-CA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fr-CA"/>
        </a:p>
      </dgm:t>
    </dgm:pt>
    <dgm:pt modelId="{7C199027-1063-498C-BB99-9FA2675558DF}">
      <dgm:prSet phldrT="[Texte]" custT="1"/>
      <dgm:spPr>
        <a:ln w="57150" cmpd="sng">
          <a:solidFill>
            <a:srgbClr val="7EB606"/>
          </a:solidFill>
        </a:ln>
      </dgm:spPr>
      <dgm:t>
        <a:bodyPr/>
        <a:lstStyle/>
        <a:p>
          <a:r>
            <a:rPr lang="en-GB" sz="1600" b="1" noProof="0" dirty="0" err="1" smtClean="0">
              <a:latin typeface="Arial" panose="020B0604020202020204" pitchFamily="34" charset="0"/>
              <a:cs typeface="Arial" panose="020B0604020202020204" pitchFamily="34" charset="0"/>
            </a:rPr>
            <a:t>Bestaande</a:t>
          </a:r>
          <a:r>
            <a:rPr lang="en-GB" sz="1600" b="1" noProof="0" dirty="0" smtClean="0">
              <a:latin typeface="Arial" panose="020B0604020202020204" pitchFamily="34" charset="0"/>
              <a:cs typeface="Arial" panose="020B0604020202020204" pitchFamily="34" charset="0"/>
            </a:rPr>
            <a:t> IT-</a:t>
          </a:r>
          <a:r>
            <a:rPr lang="en-GB" sz="1600" b="1" noProof="0" dirty="0" err="1" smtClean="0">
              <a:latin typeface="Arial" panose="020B0604020202020204" pitchFamily="34" charset="0"/>
              <a:cs typeface="Arial" panose="020B0604020202020204" pitchFamily="34" charset="0"/>
            </a:rPr>
            <a:t>systemen</a:t>
          </a:r>
          <a:endParaRPr lang="en-GB" sz="1600" b="1" noProof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fr-CA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fr-CA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2" custLinFactNeighborX="-202" custLinFactNeighborY="-1748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3A2948AC-8449-4A60-A4DA-3C870472F676}" type="pres">
      <dgm:prSet presAssocID="{7C199027-1063-498C-BB99-9FA2675558DF}" presName="parTxOnly" presStyleLbl="node1" presStyleIdx="1" presStyleCnt="2" custScaleX="87788" custLinFactNeighborX="4839" custLinFactNeighborY="-54158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28E05759-5D9A-4EA3-92E3-48555D3784AB}" srcId="{66786007-6037-4CE6-A51C-05FC76FF82D0}" destId="{7C199027-1063-498C-BB99-9FA2675558DF}" srcOrd="1" destOrd="0" parTransId="{DA17F943-3BAE-4718-A7C4-8DBCF9227876}" sibTransId="{B9F22575-2261-4B8E-BAC1-012C4BBA332F}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A024EA96-07B5-4502-8EE6-4A60EF335680}" type="presOf" srcId="{DFDB99B7-47FC-430D-9BEF-A0040781E1F4}" destId="{0A67CC49-5030-4FFF-81A9-4EFA003F6B4E}" srcOrd="0" destOrd="0" presId="urn:microsoft.com/office/officeart/2005/8/layout/hChevron3"/>
    <dgm:cxn modelId="{ACE8D489-CA98-4B12-B404-55812BD9207F}" type="presOf" srcId="{7C199027-1063-498C-BB99-9FA2675558DF}" destId="{3A2948AC-8449-4A60-A4DA-3C870472F676}" srcOrd="0" destOrd="0" presId="urn:microsoft.com/office/officeart/2005/8/layout/hChevron3"/>
    <dgm:cxn modelId="{DEC9734D-A095-43B1-BE0E-A2CEC6B17CD0}" type="presOf" srcId="{66786007-6037-4CE6-A51C-05FC76FF82D0}" destId="{062B82BB-9264-4BB3-AAA5-081B6E78A7D0}" srcOrd="0" destOrd="0" presId="urn:microsoft.com/office/officeart/2005/8/layout/hChevron3"/>
    <dgm:cxn modelId="{3110132C-8EFD-4397-AE1A-7B034F612117}" type="presParOf" srcId="{062B82BB-9264-4BB3-AAA5-081B6E78A7D0}" destId="{0A67CC49-5030-4FFF-81A9-4EFA003F6B4E}" srcOrd="0" destOrd="0" presId="urn:microsoft.com/office/officeart/2005/8/layout/hChevron3"/>
    <dgm:cxn modelId="{C21AAD05-229C-4681-B8A9-E91BCCC8D4AB}" type="presParOf" srcId="{062B82BB-9264-4BB3-AAA5-081B6E78A7D0}" destId="{53CEB83C-295A-4950-8109-56EE269D6D57}" srcOrd="1" destOrd="0" presId="urn:microsoft.com/office/officeart/2005/8/layout/hChevron3"/>
    <dgm:cxn modelId="{E38DCE0C-51C5-460C-8120-4642E5BFA7F1}" type="presParOf" srcId="{062B82BB-9264-4BB3-AAA5-081B6E78A7D0}" destId="{3A2948AC-8449-4A60-A4DA-3C870472F676}" srcOrd="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104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F07B8E7E-680B-4E17-BD22-791B4988E5F1}" type="presOf" srcId="{DFDB99B7-47FC-430D-9BEF-A0040781E1F4}" destId="{0A67CC49-5030-4FFF-81A9-4EFA003F6B4E}" srcOrd="0" destOrd="0" presId="urn:microsoft.com/office/officeart/2005/8/layout/hChevron3"/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738DDF22-10D7-41F6-ADAE-6A943EE92AEF}" type="presOf" srcId="{6CF6E163-68F9-42F4-89E9-373E1035A239}" destId="{5EF59913-DB1A-4C1B-9E88-C21503965DF7}" srcOrd="0" destOrd="0" presId="urn:microsoft.com/office/officeart/2005/8/layout/hChevron3"/>
    <dgm:cxn modelId="{1CC0C7A3-266E-43C3-8045-6AE5765430E8}" type="presOf" srcId="{7C199027-1063-498C-BB99-9FA2675558DF}" destId="{3A2948AC-8449-4A60-A4DA-3C870472F676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BA53FEDC-0427-40E1-8DA9-F43541937FC7}" type="presOf" srcId="{A6B5D113-7F3C-4C6C-A72C-DDB921C949C9}" destId="{557A5E4A-F1F5-4749-B988-E763089FCFBE}" srcOrd="0" destOrd="0" presId="urn:microsoft.com/office/officeart/2005/8/layout/hChevron3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7794EBA-52D8-4E8F-844B-C7AEB7D752C4}" type="presOf" srcId="{66786007-6037-4CE6-A51C-05FC76FF82D0}" destId="{062B82BB-9264-4BB3-AAA5-081B6E78A7D0}" srcOrd="0" destOrd="0" presId="urn:microsoft.com/office/officeart/2005/8/layout/hChevron3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01B03A3B-4C03-4DB1-A8A8-81819B7EFF8E}" type="presOf" srcId="{D975BD1E-6575-4B4E-BBA3-A2D1DACF1963}" destId="{5DBBB54C-4C5C-422F-BE37-71270213C408}" srcOrd="0" destOrd="0" presId="urn:microsoft.com/office/officeart/2005/8/layout/hChevron3"/>
    <dgm:cxn modelId="{9C5F3D55-174A-4AF5-947D-96EB3840B568}" type="presOf" srcId="{AC9FC650-12AE-4225-A2A4-727DA87A1D19}" destId="{DE04C892-9986-4C11-8E82-93F285815BAD}" srcOrd="0" destOrd="0" presId="urn:microsoft.com/office/officeart/2005/8/layout/hChevron3"/>
    <dgm:cxn modelId="{8D8E36B2-D598-4943-A881-0EC02EE8E74A}" type="presParOf" srcId="{062B82BB-9264-4BB3-AAA5-081B6E78A7D0}" destId="{0A67CC49-5030-4FFF-81A9-4EFA003F6B4E}" srcOrd="0" destOrd="0" presId="urn:microsoft.com/office/officeart/2005/8/layout/hChevron3"/>
    <dgm:cxn modelId="{51F56341-9898-4ABB-9304-C36CF0F3AB91}" type="presParOf" srcId="{062B82BB-9264-4BB3-AAA5-081B6E78A7D0}" destId="{53CEB83C-295A-4950-8109-56EE269D6D57}" srcOrd="1" destOrd="0" presId="urn:microsoft.com/office/officeart/2005/8/layout/hChevron3"/>
    <dgm:cxn modelId="{E9D6B07C-AA70-43C8-A2DD-96EF25B6F247}" type="presParOf" srcId="{062B82BB-9264-4BB3-AAA5-081B6E78A7D0}" destId="{5EF59913-DB1A-4C1B-9E88-C21503965DF7}" srcOrd="2" destOrd="0" presId="urn:microsoft.com/office/officeart/2005/8/layout/hChevron3"/>
    <dgm:cxn modelId="{934E9696-81B6-4978-871E-BC205EB7F11A}" type="presParOf" srcId="{062B82BB-9264-4BB3-AAA5-081B6E78A7D0}" destId="{D0CE9A0C-C1D6-4A8B-9617-A220472D6F88}" srcOrd="3" destOrd="0" presId="urn:microsoft.com/office/officeart/2005/8/layout/hChevron3"/>
    <dgm:cxn modelId="{264F6318-003B-4282-BF23-F68D190073EB}" type="presParOf" srcId="{062B82BB-9264-4BB3-AAA5-081B6E78A7D0}" destId="{DE04C892-9986-4C11-8E82-93F285815BAD}" srcOrd="4" destOrd="0" presId="urn:microsoft.com/office/officeart/2005/8/layout/hChevron3"/>
    <dgm:cxn modelId="{29923CEB-D10A-4067-AA05-59D9B5B497ED}" type="presParOf" srcId="{062B82BB-9264-4BB3-AAA5-081B6E78A7D0}" destId="{CB63BD15-021D-40AB-930F-8029DE744502}" srcOrd="5" destOrd="0" presId="urn:microsoft.com/office/officeart/2005/8/layout/hChevron3"/>
    <dgm:cxn modelId="{065A8842-B24C-4650-A2A7-2F2AA63C0576}" type="presParOf" srcId="{062B82BB-9264-4BB3-AAA5-081B6E78A7D0}" destId="{5DBBB54C-4C5C-422F-BE37-71270213C408}" srcOrd="6" destOrd="0" presId="urn:microsoft.com/office/officeart/2005/8/layout/hChevron3"/>
    <dgm:cxn modelId="{24AEB1E4-1686-427B-947A-B11AFF3AABC6}" type="presParOf" srcId="{062B82BB-9264-4BB3-AAA5-081B6E78A7D0}" destId="{8A383658-2EBF-45AC-9C3A-45E6A9B769D0}" srcOrd="7" destOrd="0" presId="urn:microsoft.com/office/officeart/2005/8/layout/hChevron3"/>
    <dgm:cxn modelId="{33A8A1F4-39F9-4D1A-BBAC-82AAE60E8912}" type="presParOf" srcId="{062B82BB-9264-4BB3-AAA5-081B6E78A7D0}" destId="{557A5E4A-F1F5-4749-B988-E763089FCFBE}" srcOrd="8" destOrd="0" presId="urn:microsoft.com/office/officeart/2005/8/layout/hChevron3"/>
    <dgm:cxn modelId="{BA856925-E1D9-4C8C-A25D-66C1E0D15B6F}" type="presParOf" srcId="{062B82BB-9264-4BB3-AAA5-081B6E78A7D0}" destId="{6633CB3B-0208-4BF6-83D6-4DDE2CC08617}" srcOrd="9" destOrd="0" presId="urn:microsoft.com/office/officeart/2005/8/layout/hChevron3"/>
    <dgm:cxn modelId="{FB83D92A-84D3-47C6-9F01-72AAD0B1B8E4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104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24EEF808-775D-41FD-80A7-2E00917E9C97}" type="presOf" srcId="{D975BD1E-6575-4B4E-BBA3-A2D1DACF1963}" destId="{5DBBB54C-4C5C-422F-BE37-71270213C408}" srcOrd="0" destOrd="0" presId="urn:microsoft.com/office/officeart/2005/8/layout/hChevron3"/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35CBDF45-EA66-4E89-875B-37D20D00ED33}" type="presOf" srcId="{A6B5D113-7F3C-4C6C-A72C-DDB921C949C9}" destId="{557A5E4A-F1F5-4749-B988-E763089FCFBE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447AD8A3-DE6B-4FB8-ADAD-79D65092DEF1}" type="presOf" srcId="{6CF6E163-68F9-42F4-89E9-373E1035A239}" destId="{5EF59913-DB1A-4C1B-9E88-C21503965DF7}" srcOrd="0" destOrd="0" presId="urn:microsoft.com/office/officeart/2005/8/layout/hChevron3"/>
    <dgm:cxn modelId="{1DFA82F8-AC4E-4EC1-920A-1B8DC48CEFB2}" type="presOf" srcId="{AC9FC650-12AE-4225-A2A4-727DA87A1D19}" destId="{DE04C892-9986-4C11-8E82-93F285815BAD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1D4351C6-73C3-4989-800D-8DB7AA21F41D}" type="presOf" srcId="{7C199027-1063-498C-BB99-9FA2675558DF}" destId="{3A2948AC-8449-4A60-A4DA-3C870472F676}" srcOrd="0" destOrd="0" presId="urn:microsoft.com/office/officeart/2005/8/layout/hChevron3"/>
    <dgm:cxn modelId="{B22269EE-62CF-414B-89C1-09A6D8DDDCFC}" type="presOf" srcId="{DFDB99B7-47FC-430D-9BEF-A0040781E1F4}" destId="{0A67CC49-5030-4FFF-81A9-4EFA003F6B4E}" srcOrd="0" destOrd="0" presId="urn:microsoft.com/office/officeart/2005/8/layout/hChevron3"/>
    <dgm:cxn modelId="{B76C7593-9FD2-4FD9-B523-CD72AC2D0792}" type="presOf" srcId="{66786007-6037-4CE6-A51C-05FC76FF82D0}" destId="{062B82BB-9264-4BB3-AAA5-081B6E78A7D0}" srcOrd="0" destOrd="0" presId="urn:microsoft.com/office/officeart/2005/8/layout/hChevron3"/>
    <dgm:cxn modelId="{80FFD3C3-1CE0-49F1-B69A-5DAFDD40C19B}" type="presParOf" srcId="{062B82BB-9264-4BB3-AAA5-081B6E78A7D0}" destId="{0A67CC49-5030-4FFF-81A9-4EFA003F6B4E}" srcOrd="0" destOrd="0" presId="urn:microsoft.com/office/officeart/2005/8/layout/hChevron3"/>
    <dgm:cxn modelId="{620E82A4-2927-4E4D-9D42-D48EC4EE3975}" type="presParOf" srcId="{062B82BB-9264-4BB3-AAA5-081B6E78A7D0}" destId="{53CEB83C-295A-4950-8109-56EE269D6D57}" srcOrd="1" destOrd="0" presId="urn:microsoft.com/office/officeart/2005/8/layout/hChevron3"/>
    <dgm:cxn modelId="{F79BD366-9158-4108-A460-0E9D6E1EE816}" type="presParOf" srcId="{062B82BB-9264-4BB3-AAA5-081B6E78A7D0}" destId="{5EF59913-DB1A-4C1B-9E88-C21503965DF7}" srcOrd="2" destOrd="0" presId="urn:microsoft.com/office/officeart/2005/8/layout/hChevron3"/>
    <dgm:cxn modelId="{1F1E5C59-3CCF-492F-9938-3FCCBFDB7D89}" type="presParOf" srcId="{062B82BB-9264-4BB3-AAA5-081B6E78A7D0}" destId="{D0CE9A0C-C1D6-4A8B-9617-A220472D6F88}" srcOrd="3" destOrd="0" presId="urn:microsoft.com/office/officeart/2005/8/layout/hChevron3"/>
    <dgm:cxn modelId="{A4528557-F578-40B0-BD54-62CF755D7505}" type="presParOf" srcId="{062B82BB-9264-4BB3-AAA5-081B6E78A7D0}" destId="{DE04C892-9986-4C11-8E82-93F285815BAD}" srcOrd="4" destOrd="0" presId="urn:microsoft.com/office/officeart/2005/8/layout/hChevron3"/>
    <dgm:cxn modelId="{64F70D41-3A34-4A3E-8FBD-D75AACB4326C}" type="presParOf" srcId="{062B82BB-9264-4BB3-AAA5-081B6E78A7D0}" destId="{CB63BD15-021D-40AB-930F-8029DE744502}" srcOrd="5" destOrd="0" presId="urn:microsoft.com/office/officeart/2005/8/layout/hChevron3"/>
    <dgm:cxn modelId="{833B98BF-4C3E-43A6-A68F-EA7F71C8747D}" type="presParOf" srcId="{062B82BB-9264-4BB3-AAA5-081B6E78A7D0}" destId="{5DBBB54C-4C5C-422F-BE37-71270213C408}" srcOrd="6" destOrd="0" presId="urn:microsoft.com/office/officeart/2005/8/layout/hChevron3"/>
    <dgm:cxn modelId="{4C27B78D-0385-4CD8-B295-2F12FE2EF951}" type="presParOf" srcId="{062B82BB-9264-4BB3-AAA5-081B6E78A7D0}" destId="{8A383658-2EBF-45AC-9C3A-45E6A9B769D0}" srcOrd="7" destOrd="0" presId="urn:microsoft.com/office/officeart/2005/8/layout/hChevron3"/>
    <dgm:cxn modelId="{4B548E4B-73B5-44AA-BF52-4670C5832687}" type="presParOf" srcId="{062B82BB-9264-4BB3-AAA5-081B6E78A7D0}" destId="{557A5E4A-F1F5-4749-B988-E763089FCFBE}" srcOrd="8" destOrd="0" presId="urn:microsoft.com/office/officeart/2005/8/layout/hChevron3"/>
    <dgm:cxn modelId="{5F153CDD-498C-484C-872C-4A6E42A0EAE1}" type="presParOf" srcId="{062B82BB-9264-4BB3-AAA5-081B6E78A7D0}" destId="{6633CB3B-0208-4BF6-83D6-4DDE2CC08617}" srcOrd="9" destOrd="0" presId="urn:microsoft.com/office/officeart/2005/8/layout/hChevron3"/>
    <dgm:cxn modelId="{4939CE77-260A-42E1-B383-26D8E20384E2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6786007-6037-4CE6-A51C-05FC76FF82D0}" type="doc">
      <dgm:prSet loTypeId="urn:microsoft.com/office/officeart/2005/8/layout/hChevron3" loCatId="process" qsTypeId="urn:microsoft.com/office/officeart/2005/8/quickstyle/simple1" qsCatId="simple" csTypeId="urn:microsoft.com/office/officeart/2005/8/colors/accent5_2" csCatId="accent5" phldr="1"/>
      <dgm:spPr/>
    </dgm:pt>
    <dgm:pt modelId="{DFDB99B7-47FC-430D-9BEF-A0040781E1F4}">
      <dgm:prSet phldrT="[Texte]" custT="1"/>
      <dgm:spPr>
        <a:solidFill>
          <a:srgbClr val="A6A6A6"/>
        </a:solidFill>
      </dgm:spPr>
      <dgm:t>
        <a:bodyPr/>
        <a:lstStyle/>
        <a:p>
          <a:r>
            <a:rPr lang="en-GB" sz="1400" b="1" noProof="0" dirty="0" smtClean="0"/>
            <a:t>Gap </a:t>
          </a:r>
          <a:r>
            <a:rPr lang="en-GB" sz="1400" b="1" noProof="0" dirty="0" err="1" smtClean="0"/>
            <a:t>identificatie</a:t>
          </a:r>
          <a:endParaRPr lang="en-GB" sz="1400" b="1" noProof="0" dirty="0"/>
        </a:p>
      </dgm:t>
    </dgm:pt>
    <dgm:pt modelId="{55607176-1A44-499F-95CD-0DC2B8ABF265}" type="par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5C4EA8AB-2124-4E81-854E-04579D43D73A}" type="sibTrans" cxnId="{7A31DB9F-1513-410E-9373-2F25EB8BA07D}">
      <dgm:prSet/>
      <dgm:spPr/>
      <dgm:t>
        <a:bodyPr/>
        <a:lstStyle/>
        <a:p>
          <a:endParaRPr lang="en-GB" sz="4400" b="1" noProof="0"/>
        </a:p>
      </dgm:t>
    </dgm:pt>
    <dgm:pt modelId="{6CF6E163-68F9-42F4-89E9-373E1035A239}">
      <dgm:prSet phldrT="[Texte]" custT="1"/>
      <dgm:spPr>
        <a:solidFill>
          <a:srgbClr val="8EC02F"/>
        </a:solidFill>
      </dgm:spPr>
      <dgm:t>
        <a:bodyPr/>
        <a:lstStyle/>
        <a:p>
          <a:r>
            <a:rPr lang="en-GB" sz="1400" b="1" noProof="0" dirty="0" smtClean="0"/>
            <a:t>Diagnose</a:t>
          </a:r>
          <a:endParaRPr lang="en-GB" sz="1400" b="1" noProof="0" dirty="0"/>
        </a:p>
      </dgm:t>
    </dgm:pt>
    <dgm:pt modelId="{2FB38989-14DD-41A2-89E8-91AE7BF5D54F}" type="par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B8E1B404-8FE5-4DDA-B014-3925E55F2CD4}" type="sibTrans" cxnId="{0D002E60-B743-4685-B24D-806D9DA9FE74}">
      <dgm:prSet/>
      <dgm:spPr/>
      <dgm:t>
        <a:bodyPr/>
        <a:lstStyle/>
        <a:p>
          <a:endParaRPr lang="en-GB" sz="4400" b="1" noProof="0"/>
        </a:p>
      </dgm:t>
    </dgm:pt>
    <dgm:pt modelId="{AC9FC650-12AE-4225-A2A4-727DA87A1D1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smtClean="0"/>
            <a:t>Model-</a:t>
          </a:r>
          <a:r>
            <a:rPr lang="en-GB" sz="1400" b="1" noProof="0" dirty="0" err="1" smtClean="0"/>
            <a:t>lering</a:t>
          </a:r>
          <a:endParaRPr lang="en-GB" sz="1400" b="1" noProof="0" dirty="0"/>
        </a:p>
      </dgm:t>
    </dgm:pt>
    <dgm:pt modelId="{BAAA1492-ACB6-45C3-8211-B6EF8C4FA06F}" type="par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438A53F5-1370-45D2-A013-BBE2EEB4DF74}" type="sibTrans" cxnId="{2B1DDEA1-CE71-4FE8-8288-EE16D8045FE9}">
      <dgm:prSet/>
      <dgm:spPr/>
      <dgm:t>
        <a:bodyPr/>
        <a:lstStyle/>
        <a:p>
          <a:endParaRPr lang="en-GB" sz="4400" b="1" noProof="0"/>
        </a:p>
      </dgm:t>
    </dgm:pt>
    <dgm:pt modelId="{D975BD1E-6575-4B4E-BBA3-A2D1DACF1963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Implemen</a:t>
          </a:r>
          <a:r>
            <a:rPr lang="en-GB" sz="1400" b="1" noProof="0" dirty="0" smtClean="0"/>
            <a:t>-tatie</a:t>
          </a:r>
          <a:endParaRPr lang="en-GB" sz="1400" b="1" noProof="0" dirty="0"/>
        </a:p>
      </dgm:t>
    </dgm:pt>
    <dgm:pt modelId="{5C99DC59-3175-4D97-890E-FDF923D1E548}" type="par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DB0C811-01F1-4D9E-935B-10B7BB5290B5}" type="sibTrans" cxnId="{96337C0E-BEBC-4989-9F70-617D9AED653F}">
      <dgm:prSet/>
      <dgm:spPr/>
      <dgm:t>
        <a:bodyPr/>
        <a:lstStyle/>
        <a:p>
          <a:endParaRPr lang="en-GB" sz="4400" b="1" noProof="0"/>
        </a:p>
      </dgm:t>
    </dgm:pt>
    <dgm:pt modelId="{A6B5D113-7F3C-4C6C-A72C-DDB921C949C9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smtClean="0"/>
            <a:t>Training</a:t>
          </a:r>
          <a:endParaRPr lang="en-GB" sz="1400" b="1" noProof="0"/>
        </a:p>
      </dgm:t>
    </dgm:pt>
    <dgm:pt modelId="{6FABD6BE-0AF2-497B-B48D-FBC3CFF47B92}" type="par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08CA2A0A-31BB-43AE-91A4-E80E313CDB23}" type="sibTrans" cxnId="{9E78A038-E469-4582-B4E0-499FC732E013}">
      <dgm:prSet/>
      <dgm:spPr/>
      <dgm:t>
        <a:bodyPr/>
        <a:lstStyle/>
        <a:p>
          <a:endParaRPr lang="en-GB" sz="4400" b="1" noProof="0"/>
        </a:p>
      </dgm:t>
    </dgm:pt>
    <dgm:pt modelId="{7C199027-1063-498C-BB99-9FA2675558DF}">
      <dgm:prSet phldrT="[Texte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en-GB" sz="1400" b="1" noProof="0" dirty="0" err="1" smtClean="0"/>
            <a:t>Opvolging</a:t>
          </a:r>
          <a:endParaRPr lang="en-GB" sz="1400" b="1" noProof="0" dirty="0"/>
        </a:p>
      </dgm:t>
    </dgm:pt>
    <dgm:pt modelId="{DA17F943-3BAE-4718-A7C4-8DBCF9227876}" type="par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B9F22575-2261-4B8E-BAC1-012C4BBA332F}" type="sibTrans" cxnId="{28E05759-5D9A-4EA3-92E3-48555D3784AB}">
      <dgm:prSet/>
      <dgm:spPr/>
      <dgm:t>
        <a:bodyPr/>
        <a:lstStyle/>
        <a:p>
          <a:endParaRPr lang="en-GB" sz="4400" b="1" noProof="0"/>
        </a:p>
      </dgm:t>
    </dgm:pt>
    <dgm:pt modelId="{062B82BB-9264-4BB3-AAA5-081B6E78A7D0}" type="pres">
      <dgm:prSet presAssocID="{66786007-6037-4CE6-A51C-05FC76FF82D0}" presName="Name0" presStyleCnt="0">
        <dgm:presLayoutVars>
          <dgm:dir/>
          <dgm:resizeHandles val="exact"/>
        </dgm:presLayoutVars>
      </dgm:prSet>
      <dgm:spPr/>
    </dgm:pt>
    <dgm:pt modelId="{0A67CC49-5030-4FFF-81A9-4EFA003F6B4E}" type="pres">
      <dgm:prSet presAssocID="{DFDB99B7-47FC-430D-9BEF-A0040781E1F4}" presName="parTxOnly" presStyleLbl="node1" presStyleIdx="0" presStyleCnt="6" custLinFactNeighborX="-305" custLinFactNeighborY="2319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53CEB83C-295A-4950-8109-56EE269D6D57}" type="pres">
      <dgm:prSet presAssocID="{5C4EA8AB-2124-4E81-854E-04579D43D73A}" presName="parSpace" presStyleCnt="0"/>
      <dgm:spPr/>
    </dgm:pt>
    <dgm:pt modelId="{5EF59913-DB1A-4C1B-9E88-C21503965DF7}" type="pres">
      <dgm:prSet presAssocID="{6CF6E163-68F9-42F4-89E9-373E1035A239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D0CE9A0C-C1D6-4A8B-9617-A220472D6F88}" type="pres">
      <dgm:prSet presAssocID="{B8E1B404-8FE5-4DDA-B014-3925E55F2CD4}" presName="parSpace" presStyleCnt="0"/>
      <dgm:spPr/>
    </dgm:pt>
    <dgm:pt modelId="{DE04C892-9986-4C11-8E82-93F285815BAD}" type="pres">
      <dgm:prSet presAssocID="{AC9FC650-12AE-4225-A2A4-727DA87A1D19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CB63BD15-021D-40AB-930F-8029DE744502}" type="pres">
      <dgm:prSet presAssocID="{438A53F5-1370-45D2-A013-BBE2EEB4DF74}" presName="parSpace" presStyleCnt="0"/>
      <dgm:spPr/>
    </dgm:pt>
    <dgm:pt modelId="{5DBBB54C-4C5C-422F-BE37-71270213C408}" type="pres">
      <dgm:prSet presAssocID="{D975BD1E-6575-4B4E-BBA3-A2D1DACF1963}" presName="parTxOnly" presStyleLbl="node1" presStyleIdx="3" presStyleCnt="6" custScaleX="115524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8A383658-2EBF-45AC-9C3A-45E6A9B769D0}" type="pres">
      <dgm:prSet presAssocID="{ADB0C811-01F1-4D9E-935B-10B7BB5290B5}" presName="parSpace" presStyleCnt="0"/>
      <dgm:spPr/>
    </dgm:pt>
    <dgm:pt modelId="{557A5E4A-F1F5-4749-B988-E763089FCFBE}" type="pres">
      <dgm:prSet presAssocID="{A6B5D113-7F3C-4C6C-A72C-DDB921C949C9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  <dgm:pt modelId="{6633CB3B-0208-4BF6-83D6-4DDE2CC08617}" type="pres">
      <dgm:prSet presAssocID="{08CA2A0A-31BB-43AE-91A4-E80E313CDB23}" presName="parSpace" presStyleCnt="0"/>
      <dgm:spPr/>
    </dgm:pt>
    <dgm:pt modelId="{3A2948AC-8449-4A60-A4DA-3C870472F676}" type="pres">
      <dgm:prSet presAssocID="{7C199027-1063-498C-BB99-9FA2675558DF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fr-CA"/>
        </a:p>
      </dgm:t>
    </dgm:pt>
  </dgm:ptLst>
  <dgm:cxnLst>
    <dgm:cxn modelId="{2B1DDEA1-CE71-4FE8-8288-EE16D8045FE9}" srcId="{66786007-6037-4CE6-A51C-05FC76FF82D0}" destId="{AC9FC650-12AE-4225-A2A4-727DA87A1D19}" srcOrd="2" destOrd="0" parTransId="{BAAA1492-ACB6-45C3-8211-B6EF8C4FA06F}" sibTransId="{438A53F5-1370-45D2-A013-BBE2EEB4DF74}"/>
    <dgm:cxn modelId="{1CB3D5C7-A3B2-4E58-97AD-7B90E6F2F82B}" type="presOf" srcId="{D975BD1E-6575-4B4E-BBA3-A2D1DACF1963}" destId="{5DBBB54C-4C5C-422F-BE37-71270213C408}" srcOrd="0" destOrd="0" presId="urn:microsoft.com/office/officeart/2005/8/layout/hChevron3"/>
    <dgm:cxn modelId="{7A31DB9F-1513-410E-9373-2F25EB8BA07D}" srcId="{66786007-6037-4CE6-A51C-05FC76FF82D0}" destId="{DFDB99B7-47FC-430D-9BEF-A0040781E1F4}" srcOrd="0" destOrd="0" parTransId="{55607176-1A44-499F-95CD-0DC2B8ABF265}" sibTransId="{5C4EA8AB-2124-4E81-854E-04579D43D73A}"/>
    <dgm:cxn modelId="{96337C0E-BEBC-4989-9F70-617D9AED653F}" srcId="{66786007-6037-4CE6-A51C-05FC76FF82D0}" destId="{D975BD1E-6575-4B4E-BBA3-A2D1DACF1963}" srcOrd="3" destOrd="0" parTransId="{5C99DC59-3175-4D97-890E-FDF923D1E548}" sibTransId="{ADB0C811-01F1-4D9E-935B-10B7BB5290B5}"/>
    <dgm:cxn modelId="{AC694320-B00F-4D3D-AF50-BF4F7D04D532}" type="presOf" srcId="{DFDB99B7-47FC-430D-9BEF-A0040781E1F4}" destId="{0A67CC49-5030-4FFF-81A9-4EFA003F6B4E}" srcOrd="0" destOrd="0" presId="urn:microsoft.com/office/officeart/2005/8/layout/hChevron3"/>
    <dgm:cxn modelId="{28E05759-5D9A-4EA3-92E3-48555D3784AB}" srcId="{66786007-6037-4CE6-A51C-05FC76FF82D0}" destId="{7C199027-1063-498C-BB99-9FA2675558DF}" srcOrd="5" destOrd="0" parTransId="{DA17F943-3BAE-4718-A7C4-8DBCF9227876}" sibTransId="{B9F22575-2261-4B8E-BAC1-012C4BBA332F}"/>
    <dgm:cxn modelId="{78AAE1C3-C6E8-47AD-8EDB-B852814FF51D}" type="presOf" srcId="{7C199027-1063-498C-BB99-9FA2675558DF}" destId="{3A2948AC-8449-4A60-A4DA-3C870472F676}" srcOrd="0" destOrd="0" presId="urn:microsoft.com/office/officeart/2005/8/layout/hChevron3"/>
    <dgm:cxn modelId="{9E78A038-E469-4582-B4E0-499FC732E013}" srcId="{66786007-6037-4CE6-A51C-05FC76FF82D0}" destId="{A6B5D113-7F3C-4C6C-A72C-DDB921C949C9}" srcOrd="4" destOrd="0" parTransId="{6FABD6BE-0AF2-497B-B48D-FBC3CFF47B92}" sibTransId="{08CA2A0A-31BB-43AE-91A4-E80E313CDB23}"/>
    <dgm:cxn modelId="{0D002E60-B743-4685-B24D-806D9DA9FE74}" srcId="{66786007-6037-4CE6-A51C-05FC76FF82D0}" destId="{6CF6E163-68F9-42F4-89E9-373E1035A239}" srcOrd="1" destOrd="0" parTransId="{2FB38989-14DD-41A2-89E8-91AE7BF5D54F}" sibTransId="{B8E1B404-8FE5-4DDA-B014-3925E55F2CD4}"/>
    <dgm:cxn modelId="{9FDFFC39-F499-4D79-8D73-4DCA702D48B2}" type="presOf" srcId="{A6B5D113-7F3C-4C6C-A72C-DDB921C949C9}" destId="{557A5E4A-F1F5-4749-B988-E763089FCFBE}" srcOrd="0" destOrd="0" presId="urn:microsoft.com/office/officeart/2005/8/layout/hChevron3"/>
    <dgm:cxn modelId="{D5724730-FAA1-40ED-85FB-0B8537D516A1}" type="presOf" srcId="{66786007-6037-4CE6-A51C-05FC76FF82D0}" destId="{062B82BB-9264-4BB3-AAA5-081B6E78A7D0}" srcOrd="0" destOrd="0" presId="urn:microsoft.com/office/officeart/2005/8/layout/hChevron3"/>
    <dgm:cxn modelId="{634B3C59-3489-4E05-B0DF-1069A4FFD88D}" type="presOf" srcId="{AC9FC650-12AE-4225-A2A4-727DA87A1D19}" destId="{DE04C892-9986-4C11-8E82-93F285815BAD}" srcOrd="0" destOrd="0" presId="urn:microsoft.com/office/officeart/2005/8/layout/hChevron3"/>
    <dgm:cxn modelId="{567E48C5-7B60-491A-9F2D-31012131D7AC}" type="presOf" srcId="{6CF6E163-68F9-42F4-89E9-373E1035A239}" destId="{5EF59913-DB1A-4C1B-9E88-C21503965DF7}" srcOrd="0" destOrd="0" presId="urn:microsoft.com/office/officeart/2005/8/layout/hChevron3"/>
    <dgm:cxn modelId="{0597C094-7EA5-444B-A9EA-E514F6965401}" type="presParOf" srcId="{062B82BB-9264-4BB3-AAA5-081B6E78A7D0}" destId="{0A67CC49-5030-4FFF-81A9-4EFA003F6B4E}" srcOrd="0" destOrd="0" presId="urn:microsoft.com/office/officeart/2005/8/layout/hChevron3"/>
    <dgm:cxn modelId="{4079F472-8C49-4D9B-BFD3-C4B933915074}" type="presParOf" srcId="{062B82BB-9264-4BB3-AAA5-081B6E78A7D0}" destId="{53CEB83C-295A-4950-8109-56EE269D6D57}" srcOrd="1" destOrd="0" presId="urn:microsoft.com/office/officeart/2005/8/layout/hChevron3"/>
    <dgm:cxn modelId="{F975471B-131B-432E-BB48-BE02EDD41B1B}" type="presParOf" srcId="{062B82BB-9264-4BB3-AAA5-081B6E78A7D0}" destId="{5EF59913-DB1A-4C1B-9E88-C21503965DF7}" srcOrd="2" destOrd="0" presId="urn:microsoft.com/office/officeart/2005/8/layout/hChevron3"/>
    <dgm:cxn modelId="{28855FA7-A764-4C26-AD01-553ED284DCE6}" type="presParOf" srcId="{062B82BB-9264-4BB3-AAA5-081B6E78A7D0}" destId="{D0CE9A0C-C1D6-4A8B-9617-A220472D6F88}" srcOrd="3" destOrd="0" presId="urn:microsoft.com/office/officeart/2005/8/layout/hChevron3"/>
    <dgm:cxn modelId="{7C2DA4FA-8134-4EB7-A556-540CCE1A467D}" type="presParOf" srcId="{062B82BB-9264-4BB3-AAA5-081B6E78A7D0}" destId="{DE04C892-9986-4C11-8E82-93F285815BAD}" srcOrd="4" destOrd="0" presId="urn:microsoft.com/office/officeart/2005/8/layout/hChevron3"/>
    <dgm:cxn modelId="{E606BBB6-1580-4EAD-B53E-2502E598A5AE}" type="presParOf" srcId="{062B82BB-9264-4BB3-AAA5-081B6E78A7D0}" destId="{CB63BD15-021D-40AB-930F-8029DE744502}" srcOrd="5" destOrd="0" presId="urn:microsoft.com/office/officeart/2005/8/layout/hChevron3"/>
    <dgm:cxn modelId="{751E9F4C-A0B3-42E2-9816-0AD5F5047D86}" type="presParOf" srcId="{062B82BB-9264-4BB3-AAA5-081B6E78A7D0}" destId="{5DBBB54C-4C5C-422F-BE37-71270213C408}" srcOrd="6" destOrd="0" presId="urn:microsoft.com/office/officeart/2005/8/layout/hChevron3"/>
    <dgm:cxn modelId="{E6973DCD-431D-46D5-8E7D-4DDB17C74E95}" type="presParOf" srcId="{062B82BB-9264-4BB3-AAA5-081B6E78A7D0}" destId="{8A383658-2EBF-45AC-9C3A-45E6A9B769D0}" srcOrd="7" destOrd="0" presId="urn:microsoft.com/office/officeart/2005/8/layout/hChevron3"/>
    <dgm:cxn modelId="{F1F8F571-2B0F-4D21-AD74-EC914B07540C}" type="presParOf" srcId="{062B82BB-9264-4BB3-AAA5-081B6E78A7D0}" destId="{557A5E4A-F1F5-4749-B988-E763089FCFBE}" srcOrd="8" destOrd="0" presId="urn:microsoft.com/office/officeart/2005/8/layout/hChevron3"/>
    <dgm:cxn modelId="{E8CA3B35-ABF9-490C-BA3A-4C821DB82BF2}" type="presParOf" srcId="{062B82BB-9264-4BB3-AAA5-081B6E78A7D0}" destId="{6633CB3B-0208-4BF6-83D6-4DDE2CC08617}" srcOrd="9" destOrd="0" presId="urn:microsoft.com/office/officeart/2005/8/layout/hChevron3"/>
    <dgm:cxn modelId="{C3589948-DCB1-48C9-8945-462AE5F4F9F7}" type="presParOf" srcId="{062B82BB-9264-4BB3-AAA5-081B6E78A7D0}" destId="{3A2948AC-8449-4A60-A4DA-3C870472F676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8F428429-EC8B-FB4D-83AD-30A6ADFF8699}" type="doc">
      <dgm:prSet loTypeId="urn:microsoft.com/office/officeart/2005/8/layout/hierarchy2" loCatId="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440AAD0A-0BF5-A04C-8568-2A5BA4D2FE89}">
      <dgm:prSet phldrT="[Text]"/>
      <dgm:spPr/>
      <dgm:t>
        <a:bodyPr/>
        <a:lstStyle/>
        <a:p>
          <a:r>
            <a:rPr lang="en-US" noProof="0" dirty="0" err="1" smtClean="0"/>
            <a:t>Stoomextractie</a:t>
          </a:r>
          <a:r>
            <a:rPr lang="en-US" noProof="0" dirty="0" smtClean="0"/>
            <a:t>  &lt; maximum</a:t>
          </a:r>
          <a:endParaRPr lang="en-US" noProof="0" dirty="0"/>
        </a:p>
      </dgm:t>
    </dgm:pt>
    <dgm:pt modelId="{A6215DC1-307F-5546-BCFD-A7136830FD60}" type="parTrans" cxnId="{1F4B4351-E312-974D-8C31-B06CC377BC20}">
      <dgm:prSet/>
      <dgm:spPr/>
      <dgm:t>
        <a:bodyPr/>
        <a:lstStyle/>
        <a:p>
          <a:endParaRPr lang="en-US" noProof="0"/>
        </a:p>
      </dgm:t>
    </dgm:pt>
    <dgm:pt modelId="{0984E12E-67DF-F945-9E3C-FD5BD986A8B8}" type="sibTrans" cxnId="{1F4B4351-E312-974D-8C31-B06CC377BC20}">
      <dgm:prSet/>
      <dgm:spPr/>
      <dgm:t>
        <a:bodyPr/>
        <a:lstStyle/>
        <a:p>
          <a:endParaRPr lang="en-US" noProof="0"/>
        </a:p>
      </dgm:t>
    </dgm:pt>
    <dgm:pt modelId="{072D0C5D-FB7D-BC4C-86B9-90A2917354A7}">
      <dgm:prSet phldrT="[Text]"/>
      <dgm:spPr/>
      <dgm:t>
        <a:bodyPr/>
        <a:lstStyle/>
        <a:p>
          <a:r>
            <a:rPr lang="en-US" noProof="0" dirty="0" err="1" smtClean="0"/>
            <a:t>Capacitiet</a:t>
          </a:r>
          <a:r>
            <a:rPr lang="en-US" noProof="0" dirty="0" smtClean="0"/>
            <a:t> van </a:t>
          </a:r>
          <a:r>
            <a:rPr lang="en-US" noProof="0" dirty="0" err="1" smtClean="0"/>
            <a:t>stoomextractie</a:t>
          </a:r>
          <a:endParaRPr lang="en-US" noProof="0" dirty="0"/>
        </a:p>
      </dgm:t>
    </dgm:pt>
    <dgm:pt modelId="{063215A0-20D7-EE48-A805-7051D63C4EB2}" type="parTrans" cxnId="{2271313D-8EEC-B742-B079-821A56B77D3C}">
      <dgm:prSet/>
      <dgm:spPr/>
      <dgm:t>
        <a:bodyPr/>
        <a:lstStyle/>
        <a:p>
          <a:endParaRPr lang="en-US" noProof="0"/>
        </a:p>
      </dgm:t>
    </dgm:pt>
    <dgm:pt modelId="{97ACF60E-B957-524F-8855-AC6303263B25}" type="sibTrans" cxnId="{2271313D-8EEC-B742-B079-821A56B77D3C}">
      <dgm:prSet/>
      <dgm:spPr/>
      <dgm:t>
        <a:bodyPr/>
        <a:lstStyle/>
        <a:p>
          <a:endParaRPr lang="en-US" noProof="0"/>
        </a:p>
      </dgm:t>
    </dgm:pt>
    <dgm:pt modelId="{A2008F02-56F7-8D44-A076-A52695398F3E}">
      <dgm:prSet phldrT="[Text]"/>
      <dgm:spPr/>
      <dgm:t>
        <a:bodyPr/>
        <a:lstStyle/>
        <a:p>
          <a:r>
            <a:rPr lang="en-US" noProof="0" dirty="0" err="1" smtClean="0"/>
            <a:t>Stoomextractie</a:t>
          </a:r>
          <a:r>
            <a:rPr lang="en-US" noProof="0" dirty="0" smtClean="0"/>
            <a:t> </a:t>
          </a:r>
          <a:r>
            <a:rPr lang="en-US" noProof="0" dirty="0" err="1" smtClean="0"/>
            <a:t>ligt</a:t>
          </a:r>
          <a:r>
            <a:rPr lang="en-US" noProof="0" dirty="0" smtClean="0"/>
            <a:t> </a:t>
          </a:r>
          <a:r>
            <a:rPr lang="en-US" noProof="0" dirty="0" err="1" smtClean="0"/>
            <a:t>stil</a:t>
          </a:r>
          <a:endParaRPr lang="en-US" noProof="0" dirty="0"/>
        </a:p>
      </dgm:t>
    </dgm:pt>
    <dgm:pt modelId="{4AC46E0A-CBDD-404E-9178-762FD2628C08}" type="parTrans" cxnId="{73CEE20D-5D71-FC4C-BFB2-AFBB623DF75F}">
      <dgm:prSet/>
      <dgm:spPr/>
      <dgm:t>
        <a:bodyPr/>
        <a:lstStyle/>
        <a:p>
          <a:endParaRPr lang="en-US" noProof="0"/>
        </a:p>
      </dgm:t>
    </dgm:pt>
    <dgm:pt modelId="{822BF113-1CB3-7847-9CEF-F70F5F165F98}" type="sibTrans" cxnId="{73CEE20D-5D71-FC4C-BFB2-AFBB623DF75F}">
      <dgm:prSet/>
      <dgm:spPr/>
      <dgm:t>
        <a:bodyPr/>
        <a:lstStyle/>
        <a:p>
          <a:endParaRPr lang="en-US" noProof="0"/>
        </a:p>
      </dgm:t>
    </dgm:pt>
    <dgm:pt modelId="{8C5068AA-27B6-6944-BC9D-9D8279BDB28B}">
      <dgm:prSet phldrT="[Text]"/>
      <dgm:spPr/>
      <dgm:t>
        <a:bodyPr/>
        <a:lstStyle/>
        <a:p>
          <a:r>
            <a:rPr lang="en-US" noProof="0" dirty="0" err="1" smtClean="0"/>
            <a:t>Lagedrukboilers</a:t>
          </a:r>
          <a:r>
            <a:rPr lang="en-US" noProof="0" dirty="0" smtClean="0"/>
            <a:t> </a:t>
          </a:r>
          <a:r>
            <a:rPr lang="en-US" noProof="0" dirty="0" err="1" smtClean="0"/>
            <a:t>bij</a:t>
          </a:r>
          <a:r>
            <a:rPr lang="en-US" noProof="0" dirty="0" smtClean="0"/>
            <a:t> P2</a:t>
          </a:r>
          <a:endParaRPr lang="en-US" noProof="0" dirty="0"/>
        </a:p>
      </dgm:t>
    </dgm:pt>
    <dgm:pt modelId="{191ABDC8-F0AA-1348-B269-E05574140C1B}" type="parTrans" cxnId="{DA1848E9-D9F8-6B40-A011-1A5DA53BE475}">
      <dgm:prSet/>
      <dgm:spPr/>
      <dgm:t>
        <a:bodyPr/>
        <a:lstStyle/>
        <a:p>
          <a:endParaRPr lang="en-US" noProof="0"/>
        </a:p>
      </dgm:t>
    </dgm:pt>
    <dgm:pt modelId="{2700F3FE-EFEC-E84F-BB60-B3BCAD666E60}" type="sibTrans" cxnId="{DA1848E9-D9F8-6B40-A011-1A5DA53BE475}">
      <dgm:prSet/>
      <dgm:spPr/>
      <dgm:t>
        <a:bodyPr/>
        <a:lstStyle/>
        <a:p>
          <a:endParaRPr lang="en-US" noProof="0"/>
        </a:p>
      </dgm:t>
    </dgm:pt>
    <dgm:pt modelId="{C8D9336A-BF43-0542-80B0-8668721C8F92}">
      <dgm:prSet phldrT="[Text]"/>
      <dgm:spPr/>
      <dgm:t>
        <a:bodyPr/>
        <a:lstStyle/>
        <a:p>
          <a:r>
            <a:rPr lang="en-US" noProof="0" dirty="0" err="1" smtClean="0"/>
            <a:t>Gebruikers</a:t>
          </a:r>
          <a:endParaRPr lang="en-US" noProof="0" dirty="0"/>
        </a:p>
      </dgm:t>
    </dgm:pt>
    <dgm:pt modelId="{B1EF7CD8-6A65-A94D-BDBF-26119AC5138A}" type="parTrans" cxnId="{94BE62FC-8793-2643-B6AF-000C18BCA517}">
      <dgm:prSet/>
      <dgm:spPr/>
      <dgm:t>
        <a:bodyPr/>
        <a:lstStyle/>
        <a:p>
          <a:endParaRPr lang="en-US" noProof="0"/>
        </a:p>
      </dgm:t>
    </dgm:pt>
    <dgm:pt modelId="{8BA3D493-69B7-E443-A040-3DA570AB5568}" type="sibTrans" cxnId="{94BE62FC-8793-2643-B6AF-000C18BCA517}">
      <dgm:prSet/>
      <dgm:spPr/>
      <dgm:t>
        <a:bodyPr/>
        <a:lstStyle/>
        <a:p>
          <a:endParaRPr lang="en-US" noProof="0"/>
        </a:p>
      </dgm:t>
    </dgm:pt>
    <dgm:pt modelId="{4C572C26-A6D5-4B4C-89D3-C3B277D313CC}">
      <dgm:prSet phldrT="[Text]"/>
      <dgm:spPr/>
      <dgm:t>
        <a:bodyPr/>
        <a:lstStyle/>
        <a:p>
          <a:r>
            <a:rPr lang="en-US" noProof="0" dirty="0" err="1" smtClean="0"/>
            <a:t>Sulfine</a:t>
          </a:r>
          <a:r>
            <a:rPr lang="en-US" noProof="0" dirty="0" smtClean="0"/>
            <a:t> </a:t>
          </a:r>
          <a:r>
            <a:rPr lang="en-US" noProof="0" dirty="0" err="1" smtClean="0"/>
            <a:t>fabriek</a:t>
          </a:r>
          <a:r>
            <a:rPr lang="en-US" noProof="0" dirty="0" smtClean="0"/>
            <a:t> is </a:t>
          </a:r>
          <a:r>
            <a:rPr lang="en-US" noProof="0" dirty="0" err="1" smtClean="0"/>
            <a:t>niet</a:t>
          </a:r>
          <a:r>
            <a:rPr lang="en-US" noProof="0" dirty="0" smtClean="0"/>
            <a:t> </a:t>
          </a:r>
          <a:r>
            <a:rPr lang="en-US" noProof="0" dirty="0" err="1" smtClean="0"/>
            <a:t>operationeel</a:t>
          </a:r>
          <a:endParaRPr lang="en-US" noProof="0" dirty="0"/>
        </a:p>
      </dgm:t>
    </dgm:pt>
    <dgm:pt modelId="{D7D3755C-69D9-5F45-BE44-33F4394DC2AD}" type="parTrans" cxnId="{30701BCF-A8FE-1240-97C8-6F2554DEA9EC}">
      <dgm:prSet/>
      <dgm:spPr/>
      <dgm:t>
        <a:bodyPr/>
        <a:lstStyle/>
        <a:p>
          <a:endParaRPr lang="en-US" noProof="0"/>
        </a:p>
      </dgm:t>
    </dgm:pt>
    <dgm:pt modelId="{D25F8995-0BD1-2C47-8228-FE3ACAA875A1}" type="sibTrans" cxnId="{30701BCF-A8FE-1240-97C8-6F2554DEA9EC}">
      <dgm:prSet/>
      <dgm:spPr/>
      <dgm:t>
        <a:bodyPr/>
        <a:lstStyle/>
        <a:p>
          <a:endParaRPr lang="en-US" noProof="0"/>
        </a:p>
      </dgm:t>
    </dgm:pt>
    <dgm:pt modelId="{E5FBE5FA-42B8-7443-BA07-31DFFAD78C1A}">
      <dgm:prSet phldrT="[Text]"/>
      <dgm:spPr/>
      <dgm:t>
        <a:bodyPr/>
        <a:lstStyle/>
        <a:p>
          <a:r>
            <a:rPr lang="en-US" noProof="0" smtClean="0"/>
            <a:t>Boiler BERI</a:t>
          </a:r>
          <a:endParaRPr lang="en-US" noProof="0"/>
        </a:p>
      </dgm:t>
    </dgm:pt>
    <dgm:pt modelId="{323CFE21-0F06-494E-876C-75293E562E24}" type="parTrans" cxnId="{DC9D93C5-D48B-4A4B-9A3B-8345368C2295}">
      <dgm:prSet/>
      <dgm:spPr/>
      <dgm:t>
        <a:bodyPr/>
        <a:lstStyle/>
        <a:p>
          <a:endParaRPr lang="en-US" noProof="0"/>
        </a:p>
      </dgm:t>
    </dgm:pt>
    <dgm:pt modelId="{32537D42-9232-594D-B604-ADCCBE889836}" type="sibTrans" cxnId="{DC9D93C5-D48B-4A4B-9A3B-8345368C2295}">
      <dgm:prSet/>
      <dgm:spPr/>
      <dgm:t>
        <a:bodyPr/>
        <a:lstStyle/>
        <a:p>
          <a:endParaRPr lang="en-US" noProof="0"/>
        </a:p>
      </dgm:t>
    </dgm:pt>
    <dgm:pt modelId="{B93D5895-E077-0647-B216-2254577C5E56}">
      <dgm:prSet phldrT="[Text]"/>
      <dgm:spPr/>
      <dgm:t>
        <a:bodyPr/>
        <a:lstStyle/>
        <a:p>
          <a:r>
            <a:rPr lang="en-US" noProof="0" dirty="0" err="1" smtClean="0"/>
            <a:t>Vraag</a:t>
          </a:r>
          <a:r>
            <a:rPr lang="en-US" noProof="0" dirty="0" smtClean="0"/>
            <a:t>/</a:t>
          </a:r>
          <a:r>
            <a:rPr lang="en-US" noProof="0" dirty="0" err="1" smtClean="0"/>
            <a:t>verliezen</a:t>
          </a:r>
          <a:endParaRPr lang="en-US" noProof="0" dirty="0"/>
        </a:p>
      </dgm:t>
    </dgm:pt>
    <dgm:pt modelId="{57237735-2BDF-0D4D-8D19-8299F92E79BC}" type="parTrans" cxnId="{EC461C08-1359-6246-846B-7BD2776C9CF6}">
      <dgm:prSet/>
      <dgm:spPr/>
      <dgm:t>
        <a:bodyPr/>
        <a:lstStyle/>
        <a:p>
          <a:endParaRPr lang="en-US" noProof="0"/>
        </a:p>
      </dgm:t>
    </dgm:pt>
    <dgm:pt modelId="{88FFBE5A-3789-474A-A1A1-140CE4C6609D}" type="sibTrans" cxnId="{EC461C08-1359-6246-846B-7BD2776C9CF6}">
      <dgm:prSet/>
      <dgm:spPr/>
      <dgm:t>
        <a:bodyPr/>
        <a:lstStyle/>
        <a:p>
          <a:endParaRPr lang="en-US" noProof="0"/>
        </a:p>
      </dgm:t>
    </dgm:pt>
    <dgm:pt modelId="{CA30E34D-6C3A-E145-8D5F-44E6BD1D3644}">
      <dgm:prSet phldrT="[Text]"/>
      <dgm:spPr/>
      <dgm:t>
        <a:bodyPr/>
        <a:lstStyle/>
        <a:p>
          <a:r>
            <a:rPr lang="en-US" noProof="0" dirty="0" err="1" smtClean="0"/>
            <a:t>Opstart</a:t>
          </a:r>
          <a:r>
            <a:rPr lang="en-US" noProof="0" dirty="0" smtClean="0"/>
            <a:t> </a:t>
          </a:r>
          <a:r>
            <a:rPr lang="en-US" noProof="0" dirty="0" err="1" smtClean="0"/>
            <a:t>kleppen</a:t>
          </a:r>
          <a:endParaRPr lang="en-US" noProof="0" dirty="0"/>
        </a:p>
      </dgm:t>
    </dgm:pt>
    <dgm:pt modelId="{41B4B2BC-F106-D646-9637-9F58DFF2E36E}" type="parTrans" cxnId="{4F73DCD8-0043-404C-A90C-48210C06E37F}">
      <dgm:prSet/>
      <dgm:spPr/>
      <dgm:t>
        <a:bodyPr/>
        <a:lstStyle/>
        <a:p>
          <a:endParaRPr lang="en-US" noProof="0"/>
        </a:p>
      </dgm:t>
    </dgm:pt>
    <dgm:pt modelId="{EF7DA007-CCC6-2149-BE7E-3E9EEA8A1B15}" type="sibTrans" cxnId="{4F73DCD8-0043-404C-A90C-48210C06E37F}">
      <dgm:prSet/>
      <dgm:spPr/>
      <dgm:t>
        <a:bodyPr/>
        <a:lstStyle/>
        <a:p>
          <a:endParaRPr lang="en-US" noProof="0"/>
        </a:p>
      </dgm:t>
    </dgm:pt>
    <dgm:pt modelId="{3C60CEAC-B9E2-DB44-9DDA-444CABB311C8}">
      <dgm:prSet phldrT="[Text]"/>
      <dgm:spPr/>
      <dgm:t>
        <a:bodyPr/>
        <a:lstStyle/>
        <a:p>
          <a:r>
            <a:rPr lang="en-US" noProof="0" dirty="0" smtClean="0"/>
            <a:t>Maintenance </a:t>
          </a:r>
          <a:r>
            <a:rPr lang="en-US" noProof="0" smtClean="0"/>
            <a:t>– wacht op reserve onderdelen</a:t>
          </a:r>
          <a:endParaRPr lang="en-US" noProof="0" dirty="0"/>
        </a:p>
      </dgm:t>
    </dgm:pt>
    <dgm:pt modelId="{63665A37-3165-8E46-81EA-207BBB6D281F}" type="parTrans" cxnId="{6A6C57A0-C862-624E-9DAC-E1DEF546909B}">
      <dgm:prSet/>
      <dgm:spPr/>
      <dgm:t>
        <a:bodyPr/>
        <a:lstStyle/>
        <a:p>
          <a:endParaRPr lang="en-US" noProof="0"/>
        </a:p>
      </dgm:t>
    </dgm:pt>
    <dgm:pt modelId="{B277DD6F-D5D8-5B4B-96A6-D5EEE44600BC}" type="sibTrans" cxnId="{6A6C57A0-C862-624E-9DAC-E1DEF546909B}">
      <dgm:prSet/>
      <dgm:spPr/>
      <dgm:t>
        <a:bodyPr/>
        <a:lstStyle/>
        <a:p>
          <a:endParaRPr lang="en-US" noProof="0"/>
        </a:p>
      </dgm:t>
    </dgm:pt>
    <dgm:pt modelId="{2E43DBEB-6FDF-8F49-B582-04FF08FBAB0E}">
      <dgm:prSet phldrT="[Text]"/>
      <dgm:spPr/>
      <dgm:t>
        <a:bodyPr/>
        <a:lstStyle/>
        <a:p>
          <a:r>
            <a:rPr lang="en-US" noProof="0" dirty="0" smtClean="0"/>
            <a:t>SO2-alarm</a:t>
          </a:r>
          <a:endParaRPr lang="en-US" noProof="0" dirty="0"/>
        </a:p>
      </dgm:t>
    </dgm:pt>
    <dgm:pt modelId="{B8ADC76F-BE9C-BB40-A4CA-9E30BEFE107C}" type="parTrans" cxnId="{ADCE0F11-4D92-5340-8E3C-9E6869EE3BC1}">
      <dgm:prSet/>
      <dgm:spPr/>
      <dgm:t>
        <a:bodyPr/>
        <a:lstStyle/>
        <a:p>
          <a:endParaRPr lang="en-US" noProof="0"/>
        </a:p>
      </dgm:t>
    </dgm:pt>
    <dgm:pt modelId="{80B52813-CE83-5149-A046-3D4552A9F016}" type="sibTrans" cxnId="{ADCE0F11-4D92-5340-8E3C-9E6869EE3BC1}">
      <dgm:prSet/>
      <dgm:spPr/>
      <dgm:t>
        <a:bodyPr/>
        <a:lstStyle/>
        <a:p>
          <a:endParaRPr lang="en-US" noProof="0"/>
        </a:p>
      </dgm:t>
    </dgm:pt>
    <dgm:pt modelId="{ABEC7AC6-020A-9243-A953-B39880D97FEB}">
      <dgm:prSet phldrT="[Text]"/>
      <dgm:spPr/>
      <dgm:t>
        <a:bodyPr/>
        <a:lstStyle/>
        <a:p>
          <a:r>
            <a:rPr lang="en-US" noProof="0" dirty="0" smtClean="0"/>
            <a:t>HP </a:t>
          </a:r>
          <a:r>
            <a:rPr lang="en-US" noProof="0" dirty="0" err="1" smtClean="0"/>
            <a:t>vs</a:t>
          </a:r>
          <a:r>
            <a:rPr lang="en-US" noProof="0" dirty="0" smtClean="0"/>
            <a:t> LP</a:t>
          </a:r>
          <a:endParaRPr lang="en-US" noProof="0" dirty="0"/>
        </a:p>
      </dgm:t>
    </dgm:pt>
    <dgm:pt modelId="{8F4A45F5-215A-DB43-8283-2199CB0AC6B8}" type="parTrans" cxnId="{52F00622-16C3-3E48-A922-D63CF1AE15A9}">
      <dgm:prSet/>
      <dgm:spPr/>
      <dgm:t>
        <a:bodyPr/>
        <a:lstStyle/>
        <a:p>
          <a:endParaRPr lang="en-US" noProof="0"/>
        </a:p>
      </dgm:t>
    </dgm:pt>
    <dgm:pt modelId="{7190649B-C7C9-7448-95A4-5560168221EB}" type="sibTrans" cxnId="{52F00622-16C3-3E48-A922-D63CF1AE15A9}">
      <dgm:prSet/>
      <dgm:spPr/>
      <dgm:t>
        <a:bodyPr/>
        <a:lstStyle/>
        <a:p>
          <a:endParaRPr lang="en-US" noProof="0"/>
        </a:p>
      </dgm:t>
    </dgm:pt>
    <dgm:pt modelId="{5E85108F-8856-1949-BD54-1D2CD0A348D8}">
      <dgm:prSet phldrT="[Text]"/>
      <dgm:spPr/>
      <dgm:t>
        <a:bodyPr/>
        <a:lstStyle/>
        <a:p>
          <a:r>
            <a:rPr lang="en-US" noProof="0" smtClean="0"/>
            <a:t>Boiler SO2</a:t>
          </a:r>
          <a:endParaRPr lang="en-US" noProof="0"/>
        </a:p>
      </dgm:t>
    </dgm:pt>
    <dgm:pt modelId="{04B0370E-043B-9247-9614-FA9CA3CD7E79}" type="parTrans" cxnId="{A0DB66F8-0BED-D640-AC1B-70227F4B8C46}">
      <dgm:prSet/>
      <dgm:spPr/>
      <dgm:t>
        <a:bodyPr/>
        <a:lstStyle/>
        <a:p>
          <a:endParaRPr lang="en-US" noProof="0"/>
        </a:p>
      </dgm:t>
    </dgm:pt>
    <dgm:pt modelId="{E2721E35-4374-C746-9562-89EBE2B23E14}" type="sibTrans" cxnId="{A0DB66F8-0BED-D640-AC1B-70227F4B8C46}">
      <dgm:prSet/>
      <dgm:spPr/>
      <dgm:t>
        <a:bodyPr/>
        <a:lstStyle/>
        <a:p>
          <a:endParaRPr lang="en-US" noProof="0"/>
        </a:p>
      </dgm:t>
    </dgm:pt>
    <dgm:pt modelId="{92CD89E8-FF9C-7848-9120-CD7BA1BBBAC9}">
      <dgm:prSet phldrT="[Text]"/>
      <dgm:spPr/>
      <dgm:t>
        <a:bodyPr/>
        <a:lstStyle/>
        <a:p>
          <a:r>
            <a:rPr lang="en-US" noProof="0" dirty="0" err="1" smtClean="0"/>
            <a:t>Algemeen</a:t>
          </a:r>
          <a:r>
            <a:rPr lang="en-US" noProof="0" dirty="0" smtClean="0"/>
            <a:t> management</a:t>
          </a:r>
          <a:endParaRPr lang="en-US" noProof="0" dirty="0"/>
        </a:p>
      </dgm:t>
    </dgm:pt>
    <dgm:pt modelId="{6245904D-A4E4-5A4B-95FC-2347248DF833}" type="parTrans" cxnId="{8951F8C3-8B87-5A4D-BFA4-9FFB9BE8B9BB}">
      <dgm:prSet/>
      <dgm:spPr/>
      <dgm:t>
        <a:bodyPr/>
        <a:lstStyle/>
        <a:p>
          <a:endParaRPr lang="en-US" noProof="0"/>
        </a:p>
      </dgm:t>
    </dgm:pt>
    <dgm:pt modelId="{24C0A680-FA9C-4646-B82B-8119F04B13A5}" type="sibTrans" cxnId="{8951F8C3-8B87-5A4D-BFA4-9FFB9BE8B9BB}">
      <dgm:prSet/>
      <dgm:spPr/>
      <dgm:t>
        <a:bodyPr/>
        <a:lstStyle/>
        <a:p>
          <a:endParaRPr lang="en-US" noProof="0"/>
        </a:p>
      </dgm:t>
    </dgm:pt>
    <dgm:pt modelId="{410FBFCE-F1D0-9F4C-A2F7-A1EADA9CCE52}">
      <dgm:prSet phldrT="[Text]"/>
      <dgm:spPr/>
      <dgm:t>
        <a:bodyPr/>
        <a:lstStyle/>
        <a:p>
          <a:r>
            <a:rPr lang="en-US" noProof="0" smtClean="0"/>
            <a:t>Training</a:t>
          </a:r>
          <a:endParaRPr lang="en-US" noProof="0"/>
        </a:p>
      </dgm:t>
    </dgm:pt>
    <dgm:pt modelId="{5E59FE6C-99DF-FB4B-AF77-ACC33B4C904B}" type="parTrans" cxnId="{CC8AB43B-D54C-5E47-923A-0D7D10C7F306}">
      <dgm:prSet/>
      <dgm:spPr/>
      <dgm:t>
        <a:bodyPr/>
        <a:lstStyle/>
        <a:p>
          <a:endParaRPr lang="en-US" noProof="0"/>
        </a:p>
      </dgm:t>
    </dgm:pt>
    <dgm:pt modelId="{6C8BBCCC-A89E-2342-BC9F-83797684E0F6}" type="sibTrans" cxnId="{CC8AB43B-D54C-5E47-923A-0D7D10C7F306}">
      <dgm:prSet/>
      <dgm:spPr/>
      <dgm:t>
        <a:bodyPr/>
        <a:lstStyle/>
        <a:p>
          <a:endParaRPr lang="en-US" noProof="0"/>
        </a:p>
      </dgm:t>
    </dgm:pt>
    <dgm:pt modelId="{21034AC8-CCA1-4245-8DE0-1A7562F51EE8}">
      <dgm:prSet phldrT="[Text]"/>
      <dgm:spPr/>
      <dgm:t>
        <a:bodyPr/>
        <a:lstStyle/>
        <a:p>
          <a:r>
            <a:rPr lang="en-US" noProof="0" dirty="0" err="1" smtClean="0"/>
            <a:t>Communicatie</a:t>
          </a:r>
          <a:r>
            <a:rPr lang="en-US" noProof="0" dirty="0" smtClean="0"/>
            <a:t> &amp; </a:t>
          </a:r>
          <a:r>
            <a:rPr lang="en-US" noProof="0" dirty="0" err="1" smtClean="0"/>
            <a:t>coördinatie</a:t>
          </a:r>
          <a:endParaRPr lang="en-US" noProof="0" dirty="0"/>
        </a:p>
      </dgm:t>
    </dgm:pt>
    <dgm:pt modelId="{E02522FF-E2B9-5D4D-A8E9-CA8272F53733}" type="parTrans" cxnId="{F8815627-5F79-D246-BFAA-98F6AEBA34B5}">
      <dgm:prSet/>
      <dgm:spPr/>
      <dgm:t>
        <a:bodyPr/>
        <a:lstStyle/>
        <a:p>
          <a:endParaRPr lang="en-US" noProof="0"/>
        </a:p>
      </dgm:t>
    </dgm:pt>
    <dgm:pt modelId="{18A157A3-94F0-A442-BC68-976420246C26}" type="sibTrans" cxnId="{F8815627-5F79-D246-BFAA-98F6AEBA34B5}">
      <dgm:prSet/>
      <dgm:spPr/>
      <dgm:t>
        <a:bodyPr/>
        <a:lstStyle/>
        <a:p>
          <a:endParaRPr lang="en-US" noProof="0"/>
        </a:p>
      </dgm:t>
    </dgm:pt>
    <dgm:pt modelId="{7CB733E8-35B3-4F41-9A6F-73BCAEAED79A}">
      <dgm:prSet phldrT="[Text]"/>
      <dgm:spPr/>
      <dgm:t>
        <a:bodyPr/>
        <a:lstStyle/>
        <a:p>
          <a:r>
            <a:rPr lang="en-US" noProof="0" dirty="0" err="1" smtClean="0"/>
            <a:t>Capaciteit</a:t>
          </a:r>
          <a:r>
            <a:rPr lang="en-US" noProof="0" dirty="0" smtClean="0"/>
            <a:t> van network LP-</a:t>
          </a:r>
          <a:r>
            <a:rPr lang="en-US" noProof="0" dirty="0" err="1" smtClean="0"/>
            <a:t>stoom</a:t>
          </a:r>
          <a:endParaRPr lang="en-US" noProof="0" dirty="0"/>
        </a:p>
      </dgm:t>
    </dgm:pt>
    <dgm:pt modelId="{F1983E5D-276C-DC4F-BB59-4CA089EA5E8D}" type="sibTrans" cxnId="{FE77900B-B2B1-024F-B8A0-84F60A38E718}">
      <dgm:prSet/>
      <dgm:spPr/>
      <dgm:t>
        <a:bodyPr/>
        <a:lstStyle/>
        <a:p>
          <a:endParaRPr lang="en-US" noProof="0"/>
        </a:p>
      </dgm:t>
    </dgm:pt>
    <dgm:pt modelId="{5D6FFA09-ADA8-8745-9B24-D65EC29BA384}" type="parTrans" cxnId="{FE77900B-B2B1-024F-B8A0-84F60A38E718}">
      <dgm:prSet/>
      <dgm:spPr/>
      <dgm:t>
        <a:bodyPr/>
        <a:lstStyle/>
        <a:p>
          <a:endParaRPr lang="en-US" noProof="0"/>
        </a:p>
      </dgm:t>
    </dgm:pt>
    <dgm:pt modelId="{626D4B5F-8C5F-2B47-9702-6990D0392D6E}">
      <dgm:prSet phldrT="[Text]"/>
      <dgm:spPr/>
      <dgm:t>
        <a:bodyPr/>
        <a:lstStyle/>
        <a:p>
          <a:r>
            <a:rPr lang="en-US" noProof="0" dirty="0" err="1" smtClean="0"/>
            <a:t>Er</a:t>
          </a:r>
          <a:r>
            <a:rPr lang="en-US" noProof="0" dirty="0" smtClean="0"/>
            <a:t> is </a:t>
          </a:r>
          <a:r>
            <a:rPr lang="en-US" noProof="0" dirty="0" err="1" smtClean="0"/>
            <a:t>geen</a:t>
          </a:r>
          <a:r>
            <a:rPr lang="en-US" noProof="0" dirty="0" smtClean="0"/>
            <a:t> </a:t>
          </a:r>
          <a:r>
            <a:rPr lang="en-US" noProof="0" dirty="0" err="1" smtClean="0"/>
            <a:t>stoom</a:t>
          </a:r>
          <a:r>
            <a:rPr lang="en-US" noProof="0" dirty="0" smtClean="0"/>
            <a:t> </a:t>
          </a:r>
          <a:r>
            <a:rPr lang="en-US" noProof="0" dirty="0" err="1" smtClean="0"/>
            <a:t>voor</a:t>
          </a:r>
          <a:r>
            <a:rPr lang="en-US" noProof="0" dirty="0" smtClean="0"/>
            <a:t> de turbine</a:t>
          </a:r>
          <a:endParaRPr lang="en-US" noProof="0" dirty="0"/>
        </a:p>
      </dgm:t>
    </dgm:pt>
    <dgm:pt modelId="{4BD3E00D-2C03-A749-928A-2516D23B55E1}" type="sibTrans" cxnId="{C03FB04D-7485-E74C-ADC8-B381C74B5160}">
      <dgm:prSet/>
      <dgm:spPr/>
      <dgm:t>
        <a:bodyPr/>
        <a:lstStyle/>
        <a:p>
          <a:endParaRPr lang="en-US" noProof="0"/>
        </a:p>
      </dgm:t>
    </dgm:pt>
    <dgm:pt modelId="{0E93B761-E020-384D-AD75-9AEE166A33C7}" type="parTrans" cxnId="{C03FB04D-7485-E74C-ADC8-B381C74B5160}">
      <dgm:prSet/>
      <dgm:spPr/>
      <dgm:t>
        <a:bodyPr/>
        <a:lstStyle/>
        <a:p>
          <a:endParaRPr lang="en-US" noProof="0"/>
        </a:p>
      </dgm:t>
    </dgm:pt>
    <dgm:pt modelId="{3FA829A1-54D2-9E42-A75B-D5A3367E96F1}">
      <dgm:prSet phldrT="[Text]"/>
      <dgm:spPr/>
      <dgm:t>
        <a:bodyPr/>
        <a:lstStyle/>
        <a:p>
          <a:r>
            <a:rPr lang="en-US" noProof="0" dirty="0" err="1" smtClean="0"/>
            <a:t>Tekort</a:t>
          </a:r>
          <a:r>
            <a:rPr lang="en-US" noProof="0" dirty="0" smtClean="0"/>
            <a:t> </a:t>
          </a:r>
          <a:r>
            <a:rPr lang="en-US" noProof="0" dirty="0" err="1" smtClean="0"/>
            <a:t>aan</a:t>
          </a:r>
          <a:r>
            <a:rPr lang="en-US" noProof="0" dirty="0" smtClean="0"/>
            <a:t> sulfur</a:t>
          </a:r>
          <a:endParaRPr lang="en-US" noProof="0" dirty="0"/>
        </a:p>
      </dgm:t>
    </dgm:pt>
    <dgm:pt modelId="{59680916-A5CA-4249-8B9D-33CE2A7B6366}" type="sibTrans" cxnId="{C6746CA0-AFA9-8B4A-A78C-3D7D32BA4BC1}">
      <dgm:prSet/>
      <dgm:spPr/>
      <dgm:t>
        <a:bodyPr/>
        <a:lstStyle/>
        <a:p>
          <a:endParaRPr lang="en-US" noProof="0"/>
        </a:p>
      </dgm:t>
    </dgm:pt>
    <dgm:pt modelId="{DB17CBA8-396E-984F-B4A6-F010EBA23764}" type="parTrans" cxnId="{C6746CA0-AFA9-8B4A-A78C-3D7D32BA4BC1}">
      <dgm:prSet/>
      <dgm:spPr/>
      <dgm:t>
        <a:bodyPr/>
        <a:lstStyle/>
        <a:p>
          <a:endParaRPr lang="en-US" noProof="0"/>
        </a:p>
      </dgm:t>
    </dgm:pt>
    <dgm:pt modelId="{A286618A-D84A-D044-8AEA-EA13A75F8638}" type="pres">
      <dgm:prSet presAssocID="{8F428429-EC8B-FB4D-83AD-30A6ADFF8699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881E728-5045-5D4E-BCAA-BB887899FA2A}" type="pres">
      <dgm:prSet presAssocID="{440AAD0A-0BF5-A04C-8568-2A5BA4D2FE89}" presName="root1" presStyleCnt="0"/>
      <dgm:spPr/>
    </dgm:pt>
    <dgm:pt modelId="{082E4D57-093A-0A47-B03B-45E9CEEDEC2D}" type="pres">
      <dgm:prSet presAssocID="{440AAD0A-0BF5-A04C-8568-2A5BA4D2FE89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42FBA93-997F-4C49-B6C0-831C22FADC43}" type="pres">
      <dgm:prSet presAssocID="{440AAD0A-0BF5-A04C-8568-2A5BA4D2FE89}" presName="level2hierChild" presStyleCnt="0"/>
      <dgm:spPr/>
    </dgm:pt>
    <dgm:pt modelId="{076B98FC-4A11-6A48-83E7-07F676B4B637}" type="pres">
      <dgm:prSet presAssocID="{063215A0-20D7-EE48-A805-7051D63C4EB2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A54DC9DD-E2CB-EE42-813C-8F938CAE4183}" type="pres">
      <dgm:prSet presAssocID="{063215A0-20D7-EE48-A805-7051D63C4EB2}" presName="connTx" presStyleLbl="parChTrans1D2" presStyleIdx="0" presStyleCnt="3"/>
      <dgm:spPr/>
      <dgm:t>
        <a:bodyPr/>
        <a:lstStyle/>
        <a:p>
          <a:endParaRPr lang="en-US"/>
        </a:p>
      </dgm:t>
    </dgm:pt>
    <dgm:pt modelId="{BE5B822E-F4BF-7D4F-81FD-9CBBF63A8889}" type="pres">
      <dgm:prSet presAssocID="{072D0C5D-FB7D-BC4C-86B9-90A2917354A7}" presName="root2" presStyleCnt="0"/>
      <dgm:spPr/>
    </dgm:pt>
    <dgm:pt modelId="{5C429747-D676-484F-A34D-6B310DD3BAE0}" type="pres">
      <dgm:prSet presAssocID="{072D0C5D-FB7D-BC4C-86B9-90A2917354A7}" presName="LevelTwoTextNode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FB5F536-41F2-AE4B-94F8-039B007ACA2D}" type="pres">
      <dgm:prSet presAssocID="{072D0C5D-FB7D-BC4C-86B9-90A2917354A7}" presName="level3hierChild" presStyleCnt="0"/>
      <dgm:spPr/>
    </dgm:pt>
    <dgm:pt modelId="{4B6CDFBC-58B1-B94B-BABC-6B8D93330D2A}" type="pres">
      <dgm:prSet presAssocID="{4AC46E0A-CBDD-404E-9178-762FD2628C08}" presName="conn2-1" presStyleLbl="parChTrans1D3" presStyleIdx="0" presStyleCnt="8"/>
      <dgm:spPr/>
      <dgm:t>
        <a:bodyPr/>
        <a:lstStyle/>
        <a:p>
          <a:endParaRPr lang="en-US"/>
        </a:p>
      </dgm:t>
    </dgm:pt>
    <dgm:pt modelId="{0EAEBC08-159A-4347-BC8D-3864786020AF}" type="pres">
      <dgm:prSet presAssocID="{4AC46E0A-CBDD-404E-9178-762FD2628C08}" presName="connTx" presStyleLbl="parChTrans1D3" presStyleIdx="0" presStyleCnt="8"/>
      <dgm:spPr/>
      <dgm:t>
        <a:bodyPr/>
        <a:lstStyle/>
        <a:p>
          <a:endParaRPr lang="en-US"/>
        </a:p>
      </dgm:t>
    </dgm:pt>
    <dgm:pt modelId="{B64F905E-D6BC-9847-8A81-4ADE680B8FC8}" type="pres">
      <dgm:prSet presAssocID="{A2008F02-56F7-8D44-A076-A52695398F3E}" presName="root2" presStyleCnt="0"/>
      <dgm:spPr/>
    </dgm:pt>
    <dgm:pt modelId="{8AF79623-827D-9D45-82D7-68974DD55CF5}" type="pres">
      <dgm:prSet presAssocID="{A2008F02-56F7-8D44-A076-A52695398F3E}" presName="LevelTwoTextNode" presStyleLbl="node3" presStyleIdx="0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D94AD48-9705-1747-9008-20120AF9DD7B}" type="pres">
      <dgm:prSet presAssocID="{A2008F02-56F7-8D44-A076-A52695398F3E}" presName="level3hierChild" presStyleCnt="0"/>
      <dgm:spPr/>
    </dgm:pt>
    <dgm:pt modelId="{3B76758E-201F-784A-9A07-9FBA699BC302}" type="pres">
      <dgm:prSet presAssocID="{63665A37-3165-8E46-81EA-207BBB6D281F}" presName="conn2-1" presStyleLbl="parChTrans1D4" presStyleIdx="0" presStyleCnt="7"/>
      <dgm:spPr/>
      <dgm:t>
        <a:bodyPr/>
        <a:lstStyle/>
        <a:p>
          <a:endParaRPr lang="en-US"/>
        </a:p>
      </dgm:t>
    </dgm:pt>
    <dgm:pt modelId="{0457235A-47A1-D34B-9FFA-B4A539E105AD}" type="pres">
      <dgm:prSet presAssocID="{63665A37-3165-8E46-81EA-207BBB6D281F}" presName="connTx" presStyleLbl="parChTrans1D4" presStyleIdx="0" presStyleCnt="7"/>
      <dgm:spPr/>
      <dgm:t>
        <a:bodyPr/>
        <a:lstStyle/>
        <a:p>
          <a:endParaRPr lang="en-US"/>
        </a:p>
      </dgm:t>
    </dgm:pt>
    <dgm:pt modelId="{F6060CCE-ACB1-A643-8F05-2F521F14E640}" type="pres">
      <dgm:prSet presAssocID="{3C60CEAC-B9E2-DB44-9DDA-444CABB311C8}" presName="root2" presStyleCnt="0"/>
      <dgm:spPr/>
    </dgm:pt>
    <dgm:pt modelId="{84FBBA4A-FEDD-8F49-9CE7-39421448760F}" type="pres">
      <dgm:prSet presAssocID="{3C60CEAC-B9E2-DB44-9DDA-444CABB311C8}" presName="LevelTwoTextNode" presStyleLbl="node4" presStyleIdx="0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C610DAF-02F9-154E-B3C7-EAC5CA88EF06}" type="pres">
      <dgm:prSet presAssocID="{3C60CEAC-B9E2-DB44-9DDA-444CABB311C8}" presName="level3hierChild" presStyleCnt="0"/>
      <dgm:spPr/>
    </dgm:pt>
    <dgm:pt modelId="{FA3DD138-212E-5543-904B-D3523001109F}" type="pres">
      <dgm:prSet presAssocID="{D7D3755C-69D9-5F45-BE44-33F4394DC2AD}" presName="conn2-1" presStyleLbl="parChTrans1D3" presStyleIdx="1" presStyleCnt="8"/>
      <dgm:spPr/>
      <dgm:t>
        <a:bodyPr/>
        <a:lstStyle/>
        <a:p>
          <a:endParaRPr lang="en-US"/>
        </a:p>
      </dgm:t>
    </dgm:pt>
    <dgm:pt modelId="{19BC07A2-7A2A-8649-B298-13DDFD258CA0}" type="pres">
      <dgm:prSet presAssocID="{D7D3755C-69D9-5F45-BE44-33F4394DC2AD}" presName="connTx" presStyleLbl="parChTrans1D3" presStyleIdx="1" presStyleCnt="8"/>
      <dgm:spPr/>
      <dgm:t>
        <a:bodyPr/>
        <a:lstStyle/>
        <a:p>
          <a:endParaRPr lang="en-US"/>
        </a:p>
      </dgm:t>
    </dgm:pt>
    <dgm:pt modelId="{1034BDF2-3DE4-134C-825D-6E31143CA9EF}" type="pres">
      <dgm:prSet presAssocID="{4C572C26-A6D5-4B4C-89D3-C3B277D313CC}" presName="root2" presStyleCnt="0"/>
      <dgm:spPr/>
    </dgm:pt>
    <dgm:pt modelId="{C68D6BE0-44DE-1141-ACE7-D16607E30419}" type="pres">
      <dgm:prSet presAssocID="{4C572C26-A6D5-4B4C-89D3-C3B277D313CC}" presName="LevelTwoTextNode" presStyleLbl="node3" presStyleIdx="1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CED8B1D-F788-8C4A-A1EF-1DBD9301DC27}" type="pres">
      <dgm:prSet presAssocID="{4C572C26-A6D5-4B4C-89D3-C3B277D313CC}" presName="level3hierChild" presStyleCnt="0"/>
      <dgm:spPr/>
    </dgm:pt>
    <dgm:pt modelId="{47BB47A4-4EAC-6F4A-99EE-CB95219D1180}" type="pres">
      <dgm:prSet presAssocID="{B8ADC76F-BE9C-BB40-A4CA-9E30BEFE107C}" presName="conn2-1" presStyleLbl="parChTrans1D4" presStyleIdx="1" presStyleCnt="7"/>
      <dgm:spPr/>
      <dgm:t>
        <a:bodyPr/>
        <a:lstStyle/>
        <a:p>
          <a:endParaRPr lang="en-US"/>
        </a:p>
      </dgm:t>
    </dgm:pt>
    <dgm:pt modelId="{4865D8FF-8877-A045-B49D-9ACFDD64FDEF}" type="pres">
      <dgm:prSet presAssocID="{B8ADC76F-BE9C-BB40-A4CA-9E30BEFE107C}" presName="connTx" presStyleLbl="parChTrans1D4" presStyleIdx="1" presStyleCnt="7"/>
      <dgm:spPr/>
      <dgm:t>
        <a:bodyPr/>
        <a:lstStyle/>
        <a:p>
          <a:endParaRPr lang="en-US"/>
        </a:p>
      </dgm:t>
    </dgm:pt>
    <dgm:pt modelId="{530E48DA-A3E2-2949-AA4E-993BE9605367}" type="pres">
      <dgm:prSet presAssocID="{2E43DBEB-6FDF-8F49-B582-04FF08FBAB0E}" presName="root2" presStyleCnt="0"/>
      <dgm:spPr/>
    </dgm:pt>
    <dgm:pt modelId="{CC5282F5-CE2F-684E-B42B-753FBC6ABFB9}" type="pres">
      <dgm:prSet presAssocID="{2E43DBEB-6FDF-8F49-B582-04FF08FBAB0E}" presName="LevelTwoTextNode" presStyleLbl="node4" presStyleIdx="1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6A62FEE-2D54-AF43-8F5F-AE3B97C91515}" type="pres">
      <dgm:prSet presAssocID="{2E43DBEB-6FDF-8F49-B582-04FF08FBAB0E}" presName="level3hierChild" presStyleCnt="0"/>
      <dgm:spPr/>
    </dgm:pt>
    <dgm:pt modelId="{343ABED0-3B45-374A-9C38-DA79C9FCB9CA}" type="pres">
      <dgm:prSet presAssocID="{DB17CBA8-396E-984F-B4A6-F010EBA23764}" presName="conn2-1" presStyleLbl="parChTrans1D4" presStyleIdx="2" presStyleCnt="7"/>
      <dgm:spPr/>
      <dgm:t>
        <a:bodyPr/>
        <a:lstStyle/>
        <a:p>
          <a:endParaRPr lang="en-US"/>
        </a:p>
      </dgm:t>
    </dgm:pt>
    <dgm:pt modelId="{67008F03-744C-934F-A4E1-01395AF0A727}" type="pres">
      <dgm:prSet presAssocID="{DB17CBA8-396E-984F-B4A6-F010EBA23764}" presName="connTx" presStyleLbl="parChTrans1D4" presStyleIdx="2" presStyleCnt="7"/>
      <dgm:spPr/>
      <dgm:t>
        <a:bodyPr/>
        <a:lstStyle/>
        <a:p>
          <a:endParaRPr lang="en-US"/>
        </a:p>
      </dgm:t>
    </dgm:pt>
    <dgm:pt modelId="{AB714080-D07A-0D44-B074-F3203DDE2790}" type="pres">
      <dgm:prSet presAssocID="{3FA829A1-54D2-9E42-A75B-D5A3367E96F1}" presName="root2" presStyleCnt="0"/>
      <dgm:spPr/>
    </dgm:pt>
    <dgm:pt modelId="{FB1A4E46-880B-BB4F-BA34-F5545D1226D7}" type="pres">
      <dgm:prSet presAssocID="{3FA829A1-54D2-9E42-A75B-D5A3367E96F1}" presName="LevelTwoTextNode" presStyleLbl="node4" presStyleIdx="2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7CB7E87-51BC-4040-9CB2-144C54F0E05C}" type="pres">
      <dgm:prSet presAssocID="{3FA829A1-54D2-9E42-A75B-D5A3367E96F1}" presName="level3hierChild" presStyleCnt="0"/>
      <dgm:spPr/>
    </dgm:pt>
    <dgm:pt modelId="{A4076CF1-4974-514B-8407-3D432AF3F06B}" type="pres">
      <dgm:prSet presAssocID="{0E93B761-E020-384D-AD75-9AEE166A33C7}" presName="conn2-1" presStyleLbl="parChTrans1D3" presStyleIdx="2" presStyleCnt="8"/>
      <dgm:spPr/>
      <dgm:t>
        <a:bodyPr/>
        <a:lstStyle/>
        <a:p>
          <a:endParaRPr lang="en-US"/>
        </a:p>
      </dgm:t>
    </dgm:pt>
    <dgm:pt modelId="{09DD956B-442E-414A-B122-7AF6C72DFC29}" type="pres">
      <dgm:prSet presAssocID="{0E93B761-E020-384D-AD75-9AEE166A33C7}" presName="connTx" presStyleLbl="parChTrans1D3" presStyleIdx="2" presStyleCnt="8"/>
      <dgm:spPr/>
      <dgm:t>
        <a:bodyPr/>
        <a:lstStyle/>
        <a:p>
          <a:endParaRPr lang="en-US"/>
        </a:p>
      </dgm:t>
    </dgm:pt>
    <dgm:pt modelId="{27FC2F63-C99E-DF47-91BB-815667BD57B5}" type="pres">
      <dgm:prSet presAssocID="{626D4B5F-8C5F-2B47-9702-6990D0392D6E}" presName="root2" presStyleCnt="0"/>
      <dgm:spPr/>
    </dgm:pt>
    <dgm:pt modelId="{3087DE97-040E-154D-A610-9CB45742EA8E}" type="pres">
      <dgm:prSet presAssocID="{626D4B5F-8C5F-2B47-9702-6990D0392D6E}" presName="LevelTwoTextNode" presStyleLbl="node3" presStyleIdx="2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5C6C634-32A9-DC46-9A6A-6E349ED2BB45}" type="pres">
      <dgm:prSet presAssocID="{626D4B5F-8C5F-2B47-9702-6990D0392D6E}" presName="level3hierChild" presStyleCnt="0"/>
      <dgm:spPr/>
    </dgm:pt>
    <dgm:pt modelId="{0D88FE85-A707-CF4D-B637-C9A1E86C3522}" type="pres">
      <dgm:prSet presAssocID="{5D6FFA09-ADA8-8745-9B24-D65EC29BA384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A0571062-C1B4-D24E-9566-14D81E31C142}" type="pres">
      <dgm:prSet presAssocID="{5D6FFA09-ADA8-8745-9B24-D65EC29BA384}" presName="connTx" presStyleLbl="parChTrans1D2" presStyleIdx="1" presStyleCnt="3"/>
      <dgm:spPr/>
      <dgm:t>
        <a:bodyPr/>
        <a:lstStyle/>
        <a:p>
          <a:endParaRPr lang="en-US"/>
        </a:p>
      </dgm:t>
    </dgm:pt>
    <dgm:pt modelId="{BF737B8F-8746-2D4B-8608-A5B09BA690D5}" type="pres">
      <dgm:prSet presAssocID="{7CB733E8-35B3-4F41-9A6F-73BCAEAED79A}" presName="root2" presStyleCnt="0"/>
      <dgm:spPr/>
    </dgm:pt>
    <dgm:pt modelId="{B0CFEC26-9CAE-3843-BBBA-07613985F943}" type="pres">
      <dgm:prSet presAssocID="{7CB733E8-35B3-4F41-9A6F-73BCAEAED79A}" presName="LevelTwoTextNode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3BEDA20-52A8-C143-9D6D-10BEBD6A0513}" type="pres">
      <dgm:prSet presAssocID="{7CB733E8-35B3-4F41-9A6F-73BCAEAED79A}" presName="level3hierChild" presStyleCnt="0"/>
      <dgm:spPr/>
    </dgm:pt>
    <dgm:pt modelId="{81F66DB6-1013-7B45-AB83-0D8E76A20EC0}" type="pres">
      <dgm:prSet presAssocID="{191ABDC8-F0AA-1348-B269-E05574140C1B}" presName="conn2-1" presStyleLbl="parChTrans1D3" presStyleIdx="3" presStyleCnt="8"/>
      <dgm:spPr/>
      <dgm:t>
        <a:bodyPr/>
        <a:lstStyle/>
        <a:p>
          <a:endParaRPr lang="en-US"/>
        </a:p>
      </dgm:t>
    </dgm:pt>
    <dgm:pt modelId="{350AEE5F-AC12-BD44-9BB6-6CDC941C8554}" type="pres">
      <dgm:prSet presAssocID="{191ABDC8-F0AA-1348-B269-E05574140C1B}" presName="connTx" presStyleLbl="parChTrans1D3" presStyleIdx="3" presStyleCnt="8"/>
      <dgm:spPr/>
      <dgm:t>
        <a:bodyPr/>
        <a:lstStyle/>
        <a:p>
          <a:endParaRPr lang="en-US"/>
        </a:p>
      </dgm:t>
    </dgm:pt>
    <dgm:pt modelId="{152FFB39-1574-7242-98F0-01F0064236D4}" type="pres">
      <dgm:prSet presAssocID="{8C5068AA-27B6-6944-BC9D-9D8279BDB28B}" presName="root2" presStyleCnt="0"/>
      <dgm:spPr/>
    </dgm:pt>
    <dgm:pt modelId="{F6EF01DA-8995-F141-9658-0FDF35412DEA}" type="pres">
      <dgm:prSet presAssocID="{8C5068AA-27B6-6944-BC9D-9D8279BDB28B}" presName="LevelTwoTextNode" presStyleLbl="node3" presStyleIdx="3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3260C1A-C113-7F4B-B47E-80D6374F6BE1}" type="pres">
      <dgm:prSet presAssocID="{8C5068AA-27B6-6944-BC9D-9D8279BDB28B}" presName="level3hierChild" presStyleCnt="0"/>
      <dgm:spPr/>
    </dgm:pt>
    <dgm:pt modelId="{19720260-CAB2-3446-9FEC-0D1AC8111729}" type="pres">
      <dgm:prSet presAssocID="{8F4A45F5-215A-DB43-8283-2199CB0AC6B8}" presName="conn2-1" presStyleLbl="parChTrans1D3" presStyleIdx="4" presStyleCnt="8"/>
      <dgm:spPr/>
      <dgm:t>
        <a:bodyPr/>
        <a:lstStyle/>
        <a:p>
          <a:endParaRPr lang="en-US"/>
        </a:p>
      </dgm:t>
    </dgm:pt>
    <dgm:pt modelId="{DFBEAB51-7AC0-7041-AC09-40019C809E78}" type="pres">
      <dgm:prSet presAssocID="{8F4A45F5-215A-DB43-8283-2199CB0AC6B8}" presName="connTx" presStyleLbl="parChTrans1D3" presStyleIdx="4" presStyleCnt="8"/>
      <dgm:spPr/>
      <dgm:t>
        <a:bodyPr/>
        <a:lstStyle/>
        <a:p>
          <a:endParaRPr lang="en-US"/>
        </a:p>
      </dgm:t>
    </dgm:pt>
    <dgm:pt modelId="{8727537D-ABB9-E34F-9FAB-C5038A702532}" type="pres">
      <dgm:prSet presAssocID="{ABEC7AC6-020A-9243-A953-B39880D97FEB}" presName="root2" presStyleCnt="0"/>
      <dgm:spPr/>
    </dgm:pt>
    <dgm:pt modelId="{EF0E6F1B-274C-DF41-8614-DF246A0A30A0}" type="pres">
      <dgm:prSet presAssocID="{ABEC7AC6-020A-9243-A953-B39880D97FEB}" presName="LevelTwoTextNode" presStyleLbl="node3" presStyleIdx="4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33762B5-632B-8A49-9086-1CE9A7E52FBC}" type="pres">
      <dgm:prSet presAssocID="{ABEC7AC6-020A-9243-A953-B39880D97FEB}" presName="level3hierChild" presStyleCnt="0"/>
      <dgm:spPr/>
    </dgm:pt>
    <dgm:pt modelId="{0B7A07A5-734A-9C4E-BAC0-CE4322A97A2B}" type="pres">
      <dgm:prSet presAssocID="{323CFE21-0F06-494E-876C-75293E562E24}" presName="conn2-1" presStyleLbl="parChTrans1D4" presStyleIdx="3" presStyleCnt="7"/>
      <dgm:spPr/>
      <dgm:t>
        <a:bodyPr/>
        <a:lstStyle/>
        <a:p>
          <a:endParaRPr lang="en-US"/>
        </a:p>
      </dgm:t>
    </dgm:pt>
    <dgm:pt modelId="{C2BEDEC3-433D-8940-9976-865B311EAA2C}" type="pres">
      <dgm:prSet presAssocID="{323CFE21-0F06-494E-876C-75293E562E24}" presName="connTx" presStyleLbl="parChTrans1D4" presStyleIdx="3" presStyleCnt="7"/>
      <dgm:spPr/>
      <dgm:t>
        <a:bodyPr/>
        <a:lstStyle/>
        <a:p>
          <a:endParaRPr lang="en-US"/>
        </a:p>
      </dgm:t>
    </dgm:pt>
    <dgm:pt modelId="{4E2B242C-621C-5B44-A41B-BAEDC47EDD4A}" type="pres">
      <dgm:prSet presAssocID="{E5FBE5FA-42B8-7443-BA07-31DFFAD78C1A}" presName="root2" presStyleCnt="0"/>
      <dgm:spPr/>
    </dgm:pt>
    <dgm:pt modelId="{77960A4B-D8FB-7B4E-B058-B79A4CAB3D75}" type="pres">
      <dgm:prSet presAssocID="{E5FBE5FA-42B8-7443-BA07-31DFFAD78C1A}" presName="LevelTwoTextNode" presStyleLbl="node4" presStyleIdx="3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030F060-E537-4641-A1D0-8896F322951C}" type="pres">
      <dgm:prSet presAssocID="{E5FBE5FA-42B8-7443-BA07-31DFFAD78C1A}" presName="level3hierChild" presStyleCnt="0"/>
      <dgm:spPr/>
    </dgm:pt>
    <dgm:pt modelId="{23B68D30-8445-2741-8212-7401C0FBFF53}" type="pres">
      <dgm:prSet presAssocID="{04B0370E-043B-9247-9614-FA9CA3CD7E79}" presName="conn2-1" presStyleLbl="parChTrans1D4" presStyleIdx="4" presStyleCnt="7"/>
      <dgm:spPr/>
      <dgm:t>
        <a:bodyPr/>
        <a:lstStyle/>
        <a:p>
          <a:endParaRPr lang="en-US"/>
        </a:p>
      </dgm:t>
    </dgm:pt>
    <dgm:pt modelId="{B563306C-6745-4E42-97D0-275FB5FAAA76}" type="pres">
      <dgm:prSet presAssocID="{04B0370E-043B-9247-9614-FA9CA3CD7E79}" presName="connTx" presStyleLbl="parChTrans1D4" presStyleIdx="4" presStyleCnt="7"/>
      <dgm:spPr/>
      <dgm:t>
        <a:bodyPr/>
        <a:lstStyle/>
        <a:p>
          <a:endParaRPr lang="en-US"/>
        </a:p>
      </dgm:t>
    </dgm:pt>
    <dgm:pt modelId="{B1DF968D-3D59-464F-9C6D-253D7DF70784}" type="pres">
      <dgm:prSet presAssocID="{5E85108F-8856-1949-BD54-1D2CD0A348D8}" presName="root2" presStyleCnt="0"/>
      <dgm:spPr/>
    </dgm:pt>
    <dgm:pt modelId="{2295D9DB-3683-384D-A774-1E7FDB895A5B}" type="pres">
      <dgm:prSet presAssocID="{5E85108F-8856-1949-BD54-1D2CD0A348D8}" presName="LevelTwoTextNode" presStyleLbl="node4" presStyleIdx="4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5130BD-857C-5B49-870D-BEB402F0389C}" type="pres">
      <dgm:prSet presAssocID="{5E85108F-8856-1949-BD54-1D2CD0A348D8}" presName="level3hierChild" presStyleCnt="0"/>
      <dgm:spPr/>
    </dgm:pt>
    <dgm:pt modelId="{6C936BFF-5B9F-E446-AB61-CA9A30498E8F}" type="pres">
      <dgm:prSet presAssocID="{57237735-2BDF-0D4D-8D19-8299F92E79BC}" presName="conn2-1" presStyleLbl="parChTrans1D3" presStyleIdx="5" presStyleCnt="8"/>
      <dgm:spPr/>
      <dgm:t>
        <a:bodyPr/>
        <a:lstStyle/>
        <a:p>
          <a:endParaRPr lang="en-US"/>
        </a:p>
      </dgm:t>
    </dgm:pt>
    <dgm:pt modelId="{4E01B8DE-2EBD-624B-A565-0C27202D5E17}" type="pres">
      <dgm:prSet presAssocID="{57237735-2BDF-0D4D-8D19-8299F92E79BC}" presName="connTx" presStyleLbl="parChTrans1D3" presStyleIdx="5" presStyleCnt="8"/>
      <dgm:spPr/>
      <dgm:t>
        <a:bodyPr/>
        <a:lstStyle/>
        <a:p>
          <a:endParaRPr lang="en-US"/>
        </a:p>
      </dgm:t>
    </dgm:pt>
    <dgm:pt modelId="{FA2028B5-A94B-3947-A3BC-9B29668F1814}" type="pres">
      <dgm:prSet presAssocID="{B93D5895-E077-0647-B216-2254577C5E56}" presName="root2" presStyleCnt="0"/>
      <dgm:spPr/>
    </dgm:pt>
    <dgm:pt modelId="{BBD45B3A-3B53-1043-A726-7D68C7D1008C}" type="pres">
      <dgm:prSet presAssocID="{B93D5895-E077-0647-B216-2254577C5E56}" presName="LevelTwoTextNode" presStyleLbl="node3" presStyleIdx="5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A7455DE-D997-A54A-B49A-AF035C834678}" type="pres">
      <dgm:prSet presAssocID="{B93D5895-E077-0647-B216-2254577C5E56}" presName="level3hierChild" presStyleCnt="0"/>
      <dgm:spPr/>
    </dgm:pt>
    <dgm:pt modelId="{7CDFC69F-FAC2-3944-B47F-0CF791DDEDA3}" type="pres">
      <dgm:prSet presAssocID="{B1EF7CD8-6A65-A94D-BDBF-26119AC5138A}" presName="conn2-1" presStyleLbl="parChTrans1D4" presStyleIdx="5" presStyleCnt="7"/>
      <dgm:spPr/>
      <dgm:t>
        <a:bodyPr/>
        <a:lstStyle/>
        <a:p>
          <a:endParaRPr lang="en-US"/>
        </a:p>
      </dgm:t>
    </dgm:pt>
    <dgm:pt modelId="{14C153D2-7517-DF4C-AC81-1D187BBFD42F}" type="pres">
      <dgm:prSet presAssocID="{B1EF7CD8-6A65-A94D-BDBF-26119AC5138A}" presName="connTx" presStyleLbl="parChTrans1D4" presStyleIdx="5" presStyleCnt="7"/>
      <dgm:spPr/>
      <dgm:t>
        <a:bodyPr/>
        <a:lstStyle/>
        <a:p>
          <a:endParaRPr lang="en-US"/>
        </a:p>
      </dgm:t>
    </dgm:pt>
    <dgm:pt modelId="{61239B65-85DA-F046-A4C7-614985F13CE6}" type="pres">
      <dgm:prSet presAssocID="{C8D9336A-BF43-0542-80B0-8668721C8F92}" presName="root2" presStyleCnt="0"/>
      <dgm:spPr/>
    </dgm:pt>
    <dgm:pt modelId="{34908181-7B40-5D4F-8E51-C03ECC77115A}" type="pres">
      <dgm:prSet presAssocID="{C8D9336A-BF43-0542-80B0-8668721C8F92}" presName="LevelTwoTextNode" presStyleLbl="node4" presStyleIdx="5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DD9AC5-50FA-B241-8BD5-0ABD943C95DF}" type="pres">
      <dgm:prSet presAssocID="{C8D9336A-BF43-0542-80B0-8668721C8F92}" presName="level3hierChild" presStyleCnt="0"/>
      <dgm:spPr/>
    </dgm:pt>
    <dgm:pt modelId="{F1353D91-B2E5-CC4F-8BF8-7957C82C27FA}" type="pres">
      <dgm:prSet presAssocID="{41B4B2BC-F106-D646-9637-9F58DFF2E36E}" presName="conn2-1" presStyleLbl="parChTrans1D4" presStyleIdx="6" presStyleCnt="7"/>
      <dgm:spPr/>
      <dgm:t>
        <a:bodyPr/>
        <a:lstStyle/>
        <a:p>
          <a:endParaRPr lang="en-US"/>
        </a:p>
      </dgm:t>
    </dgm:pt>
    <dgm:pt modelId="{0A7E4E66-D55E-E449-ACE0-150C51B35A7E}" type="pres">
      <dgm:prSet presAssocID="{41B4B2BC-F106-D646-9637-9F58DFF2E36E}" presName="connTx" presStyleLbl="parChTrans1D4" presStyleIdx="6" presStyleCnt="7"/>
      <dgm:spPr/>
      <dgm:t>
        <a:bodyPr/>
        <a:lstStyle/>
        <a:p>
          <a:endParaRPr lang="en-US"/>
        </a:p>
      </dgm:t>
    </dgm:pt>
    <dgm:pt modelId="{18C0F4DA-8F5E-9A4D-9693-74020CAF10CD}" type="pres">
      <dgm:prSet presAssocID="{CA30E34D-6C3A-E145-8D5F-44E6BD1D3644}" presName="root2" presStyleCnt="0"/>
      <dgm:spPr/>
    </dgm:pt>
    <dgm:pt modelId="{F71C1B2B-BD76-AD40-9047-2B047A8435E3}" type="pres">
      <dgm:prSet presAssocID="{CA30E34D-6C3A-E145-8D5F-44E6BD1D3644}" presName="LevelTwoTextNode" presStyleLbl="node4" presStyleIdx="6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9C531ED-6285-F54C-9D5F-7807866E98E6}" type="pres">
      <dgm:prSet presAssocID="{CA30E34D-6C3A-E145-8D5F-44E6BD1D3644}" presName="level3hierChild" presStyleCnt="0"/>
      <dgm:spPr/>
    </dgm:pt>
    <dgm:pt modelId="{B6B8F540-DF25-D14A-B847-A32073FD7D98}" type="pres">
      <dgm:prSet presAssocID="{6245904D-A4E4-5A4B-95FC-2347248DF833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76743F4E-5636-7E43-857E-A8D388891D87}" type="pres">
      <dgm:prSet presAssocID="{6245904D-A4E4-5A4B-95FC-2347248DF833}" presName="connTx" presStyleLbl="parChTrans1D2" presStyleIdx="2" presStyleCnt="3"/>
      <dgm:spPr/>
      <dgm:t>
        <a:bodyPr/>
        <a:lstStyle/>
        <a:p>
          <a:endParaRPr lang="en-US"/>
        </a:p>
      </dgm:t>
    </dgm:pt>
    <dgm:pt modelId="{A8A22BFA-65AE-E44B-B9E0-55D1D7CD26B0}" type="pres">
      <dgm:prSet presAssocID="{92CD89E8-FF9C-7848-9120-CD7BA1BBBAC9}" presName="root2" presStyleCnt="0"/>
      <dgm:spPr/>
    </dgm:pt>
    <dgm:pt modelId="{FC86CF09-1E2B-A846-9298-F001E33197C3}" type="pres">
      <dgm:prSet presAssocID="{92CD89E8-FF9C-7848-9120-CD7BA1BBBAC9}" presName="LevelTwoTextNode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A022D48-6061-AE45-96A8-EFD1FD880A1E}" type="pres">
      <dgm:prSet presAssocID="{92CD89E8-FF9C-7848-9120-CD7BA1BBBAC9}" presName="level3hierChild" presStyleCnt="0"/>
      <dgm:spPr/>
    </dgm:pt>
    <dgm:pt modelId="{904B961A-C9BF-2F42-8385-CEDB7548DD17}" type="pres">
      <dgm:prSet presAssocID="{5E59FE6C-99DF-FB4B-AF77-ACC33B4C904B}" presName="conn2-1" presStyleLbl="parChTrans1D3" presStyleIdx="6" presStyleCnt="8"/>
      <dgm:spPr/>
      <dgm:t>
        <a:bodyPr/>
        <a:lstStyle/>
        <a:p>
          <a:endParaRPr lang="en-US"/>
        </a:p>
      </dgm:t>
    </dgm:pt>
    <dgm:pt modelId="{000B377E-B903-074F-B44E-73E8178E2331}" type="pres">
      <dgm:prSet presAssocID="{5E59FE6C-99DF-FB4B-AF77-ACC33B4C904B}" presName="connTx" presStyleLbl="parChTrans1D3" presStyleIdx="6" presStyleCnt="8"/>
      <dgm:spPr/>
      <dgm:t>
        <a:bodyPr/>
        <a:lstStyle/>
        <a:p>
          <a:endParaRPr lang="en-US"/>
        </a:p>
      </dgm:t>
    </dgm:pt>
    <dgm:pt modelId="{845B4388-1204-B649-8A6C-33C5116CA922}" type="pres">
      <dgm:prSet presAssocID="{410FBFCE-F1D0-9F4C-A2F7-A1EADA9CCE52}" presName="root2" presStyleCnt="0"/>
      <dgm:spPr/>
    </dgm:pt>
    <dgm:pt modelId="{0EAD5B6B-4D36-7C4F-B8B3-0835391E12AB}" type="pres">
      <dgm:prSet presAssocID="{410FBFCE-F1D0-9F4C-A2F7-A1EADA9CCE52}" presName="LevelTwoTextNode" presStyleLbl="node3" presStyleIdx="6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29DE64A-3700-0242-8F5F-93A71A44C838}" type="pres">
      <dgm:prSet presAssocID="{410FBFCE-F1D0-9F4C-A2F7-A1EADA9CCE52}" presName="level3hierChild" presStyleCnt="0"/>
      <dgm:spPr/>
    </dgm:pt>
    <dgm:pt modelId="{6FD95DA8-067E-9B4C-9F78-DBD7A12326F9}" type="pres">
      <dgm:prSet presAssocID="{E02522FF-E2B9-5D4D-A8E9-CA8272F53733}" presName="conn2-1" presStyleLbl="parChTrans1D3" presStyleIdx="7" presStyleCnt="8"/>
      <dgm:spPr/>
      <dgm:t>
        <a:bodyPr/>
        <a:lstStyle/>
        <a:p>
          <a:endParaRPr lang="en-US"/>
        </a:p>
      </dgm:t>
    </dgm:pt>
    <dgm:pt modelId="{5991FDEC-4729-E643-92FD-37D0EE6C70EC}" type="pres">
      <dgm:prSet presAssocID="{E02522FF-E2B9-5D4D-A8E9-CA8272F53733}" presName="connTx" presStyleLbl="parChTrans1D3" presStyleIdx="7" presStyleCnt="8"/>
      <dgm:spPr/>
      <dgm:t>
        <a:bodyPr/>
        <a:lstStyle/>
        <a:p>
          <a:endParaRPr lang="en-US"/>
        </a:p>
      </dgm:t>
    </dgm:pt>
    <dgm:pt modelId="{44A32D09-8E7D-4E4E-A811-3D26E7CDB99C}" type="pres">
      <dgm:prSet presAssocID="{21034AC8-CCA1-4245-8DE0-1A7562F51EE8}" presName="root2" presStyleCnt="0"/>
      <dgm:spPr/>
    </dgm:pt>
    <dgm:pt modelId="{09C5F9FD-7C1D-8249-B8DD-16E03D454F89}" type="pres">
      <dgm:prSet presAssocID="{21034AC8-CCA1-4245-8DE0-1A7562F51EE8}" presName="LevelTwoTextNode" presStyleLbl="node3" presStyleIdx="7" presStyleCnt="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A1FB433-6CF1-BB48-928E-C5DE8FAB06BC}" type="pres">
      <dgm:prSet presAssocID="{21034AC8-CCA1-4245-8DE0-1A7562F51EE8}" presName="level3hierChild" presStyleCnt="0"/>
      <dgm:spPr/>
    </dgm:pt>
  </dgm:ptLst>
  <dgm:cxnLst>
    <dgm:cxn modelId="{3C36EC28-77A5-4CBF-8654-9D9BDF0AEE14}" type="presOf" srcId="{7CB733E8-35B3-4F41-9A6F-73BCAEAED79A}" destId="{B0CFEC26-9CAE-3843-BBBA-07613985F943}" srcOrd="0" destOrd="0" presId="urn:microsoft.com/office/officeart/2005/8/layout/hierarchy2"/>
    <dgm:cxn modelId="{A2914C3B-EF31-49B5-AFE8-59C13B41A69D}" type="presOf" srcId="{323CFE21-0F06-494E-876C-75293E562E24}" destId="{0B7A07A5-734A-9C4E-BAC0-CE4322A97A2B}" srcOrd="0" destOrd="0" presId="urn:microsoft.com/office/officeart/2005/8/layout/hierarchy2"/>
    <dgm:cxn modelId="{F8815627-5F79-D246-BFAA-98F6AEBA34B5}" srcId="{92CD89E8-FF9C-7848-9120-CD7BA1BBBAC9}" destId="{21034AC8-CCA1-4245-8DE0-1A7562F51EE8}" srcOrd="1" destOrd="0" parTransId="{E02522FF-E2B9-5D4D-A8E9-CA8272F53733}" sibTransId="{18A157A3-94F0-A442-BC68-976420246C26}"/>
    <dgm:cxn modelId="{85F2AF65-A60A-457D-B83C-72C61FB5D537}" type="presOf" srcId="{410FBFCE-F1D0-9F4C-A2F7-A1EADA9CCE52}" destId="{0EAD5B6B-4D36-7C4F-B8B3-0835391E12AB}" srcOrd="0" destOrd="0" presId="urn:microsoft.com/office/officeart/2005/8/layout/hierarchy2"/>
    <dgm:cxn modelId="{D0FA316B-AFFD-4511-9F4C-9772A9092512}" type="presOf" srcId="{440AAD0A-0BF5-A04C-8568-2A5BA4D2FE89}" destId="{082E4D57-093A-0A47-B03B-45E9CEEDEC2D}" srcOrd="0" destOrd="0" presId="urn:microsoft.com/office/officeart/2005/8/layout/hierarchy2"/>
    <dgm:cxn modelId="{2271313D-8EEC-B742-B079-821A56B77D3C}" srcId="{440AAD0A-0BF5-A04C-8568-2A5BA4D2FE89}" destId="{072D0C5D-FB7D-BC4C-86B9-90A2917354A7}" srcOrd="0" destOrd="0" parTransId="{063215A0-20D7-EE48-A805-7051D63C4EB2}" sibTransId="{97ACF60E-B957-524F-8855-AC6303263B25}"/>
    <dgm:cxn modelId="{1CC84AFB-83FC-40E2-AE6F-FB5997AA66D3}" type="presOf" srcId="{8F4A45F5-215A-DB43-8283-2199CB0AC6B8}" destId="{DFBEAB51-7AC0-7041-AC09-40019C809E78}" srcOrd="1" destOrd="0" presId="urn:microsoft.com/office/officeart/2005/8/layout/hierarchy2"/>
    <dgm:cxn modelId="{BA957166-3902-4738-A745-99B45BB2A0FB}" type="presOf" srcId="{191ABDC8-F0AA-1348-B269-E05574140C1B}" destId="{350AEE5F-AC12-BD44-9BB6-6CDC941C8554}" srcOrd="1" destOrd="0" presId="urn:microsoft.com/office/officeart/2005/8/layout/hierarchy2"/>
    <dgm:cxn modelId="{D0608317-E567-4F4A-9C10-2650A0BEA1BD}" type="presOf" srcId="{C8D9336A-BF43-0542-80B0-8668721C8F92}" destId="{34908181-7B40-5D4F-8E51-C03ECC77115A}" srcOrd="0" destOrd="0" presId="urn:microsoft.com/office/officeart/2005/8/layout/hierarchy2"/>
    <dgm:cxn modelId="{FD800456-EB6B-42E9-BCB3-7ADC0F36089A}" type="presOf" srcId="{063215A0-20D7-EE48-A805-7051D63C4EB2}" destId="{076B98FC-4A11-6A48-83E7-07F676B4B637}" srcOrd="0" destOrd="0" presId="urn:microsoft.com/office/officeart/2005/8/layout/hierarchy2"/>
    <dgm:cxn modelId="{8E506E50-1AA1-4A9A-9C41-7A9FBD863308}" type="presOf" srcId="{5E59FE6C-99DF-FB4B-AF77-ACC33B4C904B}" destId="{904B961A-C9BF-2F42-8385-CEDB7548DD17}" srcOrd="0" destOrd="0" presId="urn:microsoft.com/office/officeart/2005/8/layout/hierarchy2"/>
    <dgm:cxn modelId="{4F73DCD8-0043-404C-A90C-48210C06E37F}" srcId="{B93D5895-E077-0647-B216-2254577C5E56}" destId="{CA30E34D-6C3A-E145-8D5F-44E6BD1D3644}" srcOrd="1" destOrd="0" parTransId="{41B4B2BC-F106-D646-9637-9F58DFF2E36E}" sibTransId="{EF7DA007-CCC6-2149-BE7E-3E9EEA8A1B15}"/>
    <dgm:cxn modelId="{E2AC7E92-E65A-415F-8559-A34283627CDE}" type="presOf" srcId="{191ABDC8-F0AA-1348-B269-E05574140C1B}" destId="{81F66DB6-1013-7B45-AB83-0D8E76A20EC0}" srcOrd="0" destOrd="0" presId="urn:microsoft.com/office/officeart/2005/8/layout/hierarchy2"/>
    <dgm:cxn modelId="{C6746CA0-AFA9-8B4A-A78C-3D7D32BA4BC1}" srcId="{4C572C26-A6D5-4B4C-89D3-C3B277D313CC}" destId="{3FA829A1-54D2-9E42-A75B-D5A3367E96F1}" srcOrd="1" destOrd="0" parTransId="{DB17CBA8-396E-984F-B4A6-F010EBA23764}" sibTransId="{59680916-A5CA-4249-8B9D-33CE2A7B6366}"/>
    <dgm:cxn modelId="{F3E8F0EC-E834-46A7-B4C4-347F473D7F5F}" type="presOf" srcId="{072D0C5D-FB7D-BC4C-86B9-90A2917354A7}" destId="{5C429747-D676-484F-A34D-6B310DD3BAE0}" srcOrd="0" destOrd="0" presId="urn:microsoft.com/office/officeart/2005/8/layout/hierarchy2"/>
    <dgm:cxn modelId="{B5C03732-332C-4791-964C-F4A088D6DBA3}" type="presOf" srcId="{063215A0-20D7-EE48-A805-7051D63C4EB2}" destId="{A54DC9DD-E2CB-EE42-813C-8F938CAE4183}" srcOrd="1" destOrd="0" presId="urn:microsoft.com/office/officeart/2005/8/layout/hierarchy2"/>
    <dgm:cxn modelId="{04E28F1C-D86C-458E-B79A-B911529C6DDD}" type="presOf" srcId="{A2008F02-56F7-8D44-A076-A52695398F3E}" destId="{8AF79623-827D-9D45-82D7-68974DD55CF5}" srcOrd="0" destOrd="0" presId="urn:microsoft.com/office/officeart/2005/8/layout/hierarchy2"/>
    <dgm:cxn modelId="{2CFA150C-C43C-4BF3-966D-3C8C9FD84C08}" type="presOf" srcId="{8C5068AA-27B6-6944-BC9D-9D8279BDB28B}" destId="{F6EF01DA-8995-F141-9658-0FDF35412DEA}" srcOrd="0" destOrd="0" presId="urn:microsoft.com/office/officeart/2005/8/layout/hierarchy2"/>
    <dgm:cxn modelId="{28E71550-C611-4306-801E-CB6D44928CC6}" type="presOf" srcId="{CA30E34D-6C3A-E145-8D5F-44E6BD1D3644}" destId="{F71C1B2B-BD76-AD40-9047-2B047A8435E3}" srcOrd="0" destOrd="0" presId="urn:microsoft.com/office/officeart/2005/8/layout/hierarchy2"/>
    <dgm:cxn modelId="{1D80B316-1D31-4AD4-9B5A-424BF7BD2591}" type="presOf" srcId="{04B0370E-043B-9247-9614-FA9CA3CD7E79}" destId="{23B68D30-8445-2741-8212-7401C0FBFF53}" srcOrd="0" destOrd="0" presId="urn:microsoft.com/office/officeart/2005/8/layout/hierarchy2"/>
    <dgm:cxn modelId="{B5E926B0-3DC6-444E-83F9-E66676B55C36}" type="presOf" srcId="{41B4B2BC-F106-D646-9637-9F58DFF2E36E}" destId="{F1353D91-B2E5-CC4F-8BF8-7957C82C27FA}" srcOrd="0" destOrd="0" presId="urn:microsoft.com/office/officeart/2005/8/layout/hierarchy2"/>
    <dgm:cxn modelId="{C0744B5C-9962-42E8-A070-B25A4E3A2152}" type="presOf" srcId="{6245904D-A4E4-5A4B-95FC-2347248DF833}" destId="{B6B8F540-DF25-D14A-B847-A32073FD7D98}" srcOrd="0" destOrd="0" presId="urn:microsoft.com/office/officeart/2005/8/layout/hierarchy2"/>
    <dgm:cxn modelId="{ADCE0F11-4D92-5340-8E3C-9E6869EE3BC1}" srcId="{4C572C26-A6D5-4B4C-89D3-C3B277D313CC}" destId="{2E43DBEB-6FDF-8F49-B582-04FF08FBAB0E}" srcOrd="0" destOrd="0" parTransId="{B8ADC76F-BE9C-BB40-A4CA-9E30BEFE107C}" sibTransId="{80B52813-CE83-5149-A046-3D4552A9F016}"/>
    <dgm:cxn modelId="{30701BCF-A8FE-1240-97C8-6F2554DEA9EC}" srcId="{072D0C5D-FB7D-BC4C-86B9-90A2917354A7}" destId="{4C572C26-A6D5-4B4C-89D3-C3B277D313CC}" srcOrd="1" destOrd="0" parTransId="{D7D3755C-69D9-5F45-BE44-33F4394DC2AD}" sibTransId="{D25F8995-0BD1-2C47-8228-FE3ACAA875A1}"/>
    <dgm:cxn modelId="{76B50282-EBA4-42BF-A434-B8894EDD6948}" type="presOf" srcId="{5E59FE6C-99DF-FB4B-AF77-ACC33B4C904B}" destId="{000B377E-B903-074F-B44E-73E8178E2331}" srcOrd="1" destOrd="0" presId="urn:microsoft.com/office/officeart/2005/8/layout/hierarchy2"/>
    <dgm:cxn modelId="{FDAB02CF-97DA-42F4-A274-571AC348A7BC}" type="presOf" srcId="{ABEC7AC6-020A-9243-A953-B39880D97FEB}" destId="{EF0E6F1B-274C-DF41-8614-DF246A0A30A0}" srcOrd="0" destOrd="0" presId="urn:microsoft.com/office/officeart/2005/8/layout/hierarchy2"/>
    <dgm:cxn modelId="{610C0E26-9D6B-47CE-B629-7989CE28BD5F}" type="presOf" srcId="{3C60CEAC-B9E2-DB44-9DDA-444CABB311C8}" destId="{84FBBA4A-FEDD-8F49-9CE7-39421448760F}" srcOrd="0" destOrd="0" presId="urn:microsoft.com/office/officeart/2005/8/layout/hierarchy2"/>
    <dgm:cxn modelId="{8951F8C3-8B87-5A4D-BFA4-9FFB9BE8B9BB}" srcId="{440AAD0A-0BF5-A04C-8568-2A5BA4D2FE89}" destId="{92CD89E8-FF9C-7848-9120-CD7BA1BBBAC9}" srcOrd="2" destOrd="0" parTransId="{6245904D-A4E4-5A4B-95FC-2347248DF833}" sibTransId="{24C0A680-FA9C-4646-B82B-8119F04B13A5}"/>
    <dgm:cxn modelId="{C69D2A21-249E-41FA-915D-190F9F274563}" type="presOf" srcId="{E02522FF-E2B9-5D4D-A8E9-CA8272F53733}" destId="{6FD95DA8-067E-9B4C-9F78-DBD7A12326F9}" srcOrd="0" destOrd="0" presId="urn:microsoft.com/office/officeart/2005/8/layout/hierarchy2"/>
    <dgm:cxn modelId="{94BE62FC-8793-2643-B6AF-000C18BCA517}" srcId="{B93D5895-E077-0647-B216-2254577C5E56}" destId="{C8D9336A-BF43-0542-80B0-8668721C8F92}" srcOrd="0" destOrd="0" parTransId="{B1EF7CD8-6A65-A94D-BDBF-26119AC5138A}" sibTransId="{8BA3D493-69B7-E443-A040-3DA570AB5568}"/>
    <dgm:cxn modelId="{C03FB04D-7485-E74C-ADC8-B381C74B5160}" srcId="{072D0C5D-FB7D-BC4C-86B9-90A2917354A7}" destId="{626D4B5F-8C5F-2B47-9702-6990D0392D6E}" srcOrd="2" destOrd="0" parTransId="{0E93B761-E020-384D-AD75-9AEE166A33C7}" sibTransId="{4BD3E00D-2C03-A749-928A-2516D23B55E1}"/>
    <dgm:cxn modelId="{DC9D93C5-D48B-4A4B-9A3B-8345368C2295}" srcId="{ABEC7AC6-020A-9243-A953-B39880D97FEB}" destId="{E5FBE5FA-42B8-7443-BA07-31DFFAD78C1A}" srcOrd="0" destOrd="0" parTransId="{323CFE21-0F06-494E-876C-75293E562E24}" sibTransId="{32537D42-9232-594D-B604-ADCCBE889836}"/>
    <dgm:cxn modelId="{DA1848E9-D9F8-6B40-A011-1A5DA53BE475}" srcId="{7CB733E8-35B3-4F41-9A6F-73BCAEAED79A}" destId="{8C5068AA-27B6-6944-BC9D-9D8279BDB28B}" srcOrd="0" destOrd="0" parTransId="{191ABDC8-F0AA-1348-B269-E05574140C1B}" sibTransId="{2700F3FE-EFEC-E84F-BB60-B3BCAD666E60}"/>
    <dgm:cxn modelId="{09EB65C8-5425-43C2-9478-38FB9E4E35D4}" type="presOf" srcId="{4AC46E0A-CBDD-404E-9178-762FD2628C08}" destId="{4B6CDFBC-58B1-B94B-BABC-6B8D93330D2A}" srcOrd="0" destOrd="0" presId="urn:microsoft.com/office/officeart/2005/8/layout/hierarchy2"/>
    <dgm:cxn modelId="{1413D4D9-C14F-47BE-9602-61D71D0DB88D}" type="presOf" srcId="{8F428429-EC8B-FB4D-83AD-30A6ADFF8699}" destId="{A286618A-D84A-D044-8AEA-EA13A75F8638}" srcOrd="0" destOrd="0" presId="urn:microsoft.com/office/officeart/2005/8/layout/hierarchy2"/>
    <dgm:cxn modelId="{52570317-F0BF-417C-AE20-B99C3DBA3C22}" type="presOf" srcId="{41B4B2BC-F106-D646-9637-9F58DFF2E36E}" destId="{0A7E4E66-D55E-E449-ACE0-150C51B35A7E}" srcOrd="1" destOrd="0" presId="urn:microsoft.com/office/officeart/2005/8/layout/hierarchy2"/>
    <dgm:cxn modelId="{1A4960E9-8481-4409-B2BB-DAA85DAE44C5}" type="presOf" srcId="{E5FBE5FA-42B8-7443-BA07-31DFFAD78C1A}" destId="{77960A4B-D8FB-7B4E-B058-B79A4CAB3D75}" srcOrd="0" destOrd="0" presId="urn:microsoft.com/office/officeart/2005/8/layout/hierarchy2"/>
    <dgm:cxn modelId="{00CB0AF8-C9E9-4874-B64D-3F154D437AE5}" type="presOf" srcId="{57237735-2BDF-0D4D-8D19-8299F92E79BC}" destId="{4E01B8DE-2EBD-624B-A565-0C27202D5E17}" srcOrd="1" destOrd="0" presId="urn:microsoft.com/office/officeart/2005/8/layout/hierarchy2"/>
    <dgm:cxn modelId="{1F4B4351-E312-974D-8C31-B06CC377BC20}" srcId="{8F428429-EC8B-FB4D-83AD-30A6ADFF8699}" destId="{440AAD0A-0BF5-A04C-8568-2A5BA4D2FE89}" srcOrd="0" destOrd="0" parTransId="{A6215DC1-307F-5546-BCFD-A7136830FD60}" sibTransId="{0984E12E-67DF-F945-9E3C-FD5BD986A8B8}"/>
    <dgm:cxn modelId="{FD1BCC9C-2CF4-4240-92C4-7F1861F17B3A}" type="presOf" srcId="{B8ADC76F-BE9C-BB40-A4CA-9E30BEFE107C}" destId="{47BB47A4-4EAC-6F4A-99EE-CB95219D1180}" srcOrd="0" destOrd="0" presId="urn:microsoft.com/office/officeart/2005/8/layout/hierarchy2"/>
    <dgm:cxn modelId="{A9ED36BE-1173-44A4-9D54-882F8C0678EF}" type="presOf" srcId="{B93D5895-E077-0647-B216-2254577C5E56}" destId="{BBD45B3A-3B53-1043-A726-7D68C7D1008C}" srcOrd="0" destOrd="0" presId="urn:microsoft.com/office/officeart/2005/8/layout/hierarchy2"/>
    <dgm:cxn modelId="{1253D6E0-2D46-4B9E-A25D-55FA6AF547F5}" type="presOf" srcId="{5D6FFA09-ADA8-8745-9B24-D65EC29BA384}" destId="{0D88FE85-A707-CF4D-B637-C9A1E86C3522}" srcOrd="0" destOrd="0" presId="urn:microsoft.com/office/officeart/2005/8/layout/hierarchy2"/>
    <dgm:cxn modelId="{A0DB66F8-0BED-D640-AC1B-70227F4B8C46}" srcId="{ABEC7AC6-020A-9243-A953-B39880D97FEB}" destId="{5E85108F-8856-1949-BD54-1D2CD0A348D8}" srcOrd="1" destOrd="0" parTransId="{04B0370E-043B-9247-9614-FA9CA3CD7E79}" sibTransId="{E2721E35-4374-C746-9562-89EBE2B23E14}"/>
    <dgm:cxn modelId="{D74474B2-9A88-4AC2-86CA-9C8348596578}" type="presOf" srcId="{0E93B761-E020-384D-AD75-9AEE166A33C7}" destId="{A4076CF1-4974-514B-8407-3D432AF3F06B}" srcOrd="0" destOrd="0" presId="urn:microsoft.com/office/officeart/2005/8/layout/hierarchy2"/>
    <dgm:cxn modelId="{66FA06DC-5B03-4E49-9F36-3E8E3C64C342}" type="presOf" srcId="{92CD89E8-FF9C-7848-9120-CD7BA1BBBAC9}" destId="{FC86CF09-1E2B-A846-9298-F001E33197C3}" srcOrd="0" destOrd="0" presId="urn:microsoft.com/office/officeart/2005/8/layout/hierarchy2"/>
    <dgm:cxn modelId="{1D34E015-36D9-4BC7-99E5-58BF93F19D40}" type="presOf" srcId="{D7D3755C-69D9-5F45-BE44-33F4394DC2AD}" destId="{19BC07A2-7A2A-8649-B298-13DDFD258CA0}" srcOrd="1" destOrd="0" presId="urn:microsoft.com/office/officeart/2005/8/layout/hierarchy2"/>
    <dgm:cxn modelId="{FE77900B-B2B1-024F-B8A0-84F60A38E718}" srcId="{440AAD0A-0BF5-A04C-8568-2A5BA4D2FE89}" destId="{7CB733E8-35B3-4F41-9A6F-73BCAEAED79A}" srcOrd="1" destOrd="0" parTransId="{5D6FFA09-ADA8-8745-9B24-D65EC29BA384}" sibTransId="{F1983E5D-276C-DC4F-BB59-4CA089EA5E8D}"/>
    <dgm:cxn modelId="{D5D2F2C0-650B-4C5D-8FD4-84E962EBB110}" type="presOf" srcId="{DB17CBA8-396E-984F-B4A6-F010EBA23764}" destId="{67008F03-744C-934F-A4E1-01395AF0A727}" srcOrd="1" destOrd="0" presId="urn:microsoft.com/office/officeart/2005/8/layout/hierarchy2"/>
    <dgm:cxn modelId="{DB1F1B47-4839-41E4-BF58-709AAFA48705}" type="presOf" srcId="{D7D3755C-69D9-5F45-BE44-33F4394DC2AD}" destId="{FA3DD138-212E-5543-904B-D3523001109F}" srcOrd="0" destOrd="0" presId="urn:microsoft.com/office/officeart/2005/8/layout/hierarchy2"/>
    <dgm:cxn modelId="{46F8932F-4726-4917-9AA9-B78F2A22134C}" type="presOf" srcId="{57237735-2BDF-0D4D-8D19-8299F92E79BC}" destId="{6C936BFF-5B9F-E446-AB61-CA9A30498E8F}" srcOrd="0" destOrd="0" presId="urn:microsoft.com/office/officeart/2005/8/layout/hierarchy2"/>
    <dgm:cxn modelId="{598E7EEF-F01F-41D3-BC31-726AA29F6D10}" type="presOf" srcId="{4C572C26-A6D5-4B4C-89D3-C3B277D313CC}" destId="{C68D6BE0-44DE-1141-ACE7-D16607E30419}" srcOrd="0" destOrd="0" presId="urn:microsoft.com/office/officeart/2005/8/layout/hierarchy2"/>
    <dgm:cxn modelId="{6A6C57A0-C862-624E-9DAC-E1DEF546909B}" srcId="{A2008F02-56F7-8D44-A076-A52695398F3E}" destId="{3C60CEAC-B9E2-DB44-9DDA-444CABB311C8}" srcOrd="0" destOrd="0" parTransId="{63665A37-3165-8E46-81EA-207BBB6D281F}" sibTransId="{B277DD6F-D5D8-5B4B-96A6-D5EEE44600BC}"/>
    <dgm:cxn modelId="{6423DDE7-43D2-4258-AF81-5FFB9361F6D3}" type="presOf" srcId="{63665A37-3165-8E46-81EA-207BBB6D281F}" destId="{0457235A-47A1-D34B-9FFA-B4A539E105AD}" srcOrd="1" destOrd="0" presId="urn:microsoft.com/office/officeart/2005/8/layout/hierarchy2"/>
    <dgm:cxn modelId="{5CBD58F4-7930-4136-8581-E3920DDD9EDC}" type="presOf" srcId="{21034AC8-CCA1-4245-8DE0-1A7562F51EE8}" destId="{09C5F9FD-7C1D-8249-B8DD-16E03D454F89}" srcOrd="0" destOrd="0" presId="urn:microsoft.com/office/officeart/2005/8/layout/hierarchy2"/>
    <dgm:cxn modelId="{68AFE586-064A-42E1-A9E5-2DB9ECB4448B}" type="presOf" srcId="{04B0370E-043B-9247-9614-FA9CA3CD7E79}" destId="{B563306C-6745-4E42-97D0-275FB5FAAA76}" srcOrd="1" destOrd="0" presId="urn:microsoft.com/office/officeart/2005/8/layout/hierarchy2"/>
    <dgm:cxn modelId="{6ED19266-2720-48C9-8EE0-6137FF52218B}" type="presOf" srcId="{63665A37-3165-8E46-81EA-207BBB6D281F}" destId="{3B76758E-201F-784A-9A07-9FBA699BC302}" srcOrd="0" destOrd="0" presId="urn:microsoft.com/office/officeart/2005/8/layout/hierarchy2"/>
    <dgm:cxn modelId="{6DCF8713-46C4-4A9C-B553-3B7658A8E0AF}" type="presOf" srcId="{DB17CBA8-396E-984F-B4A6-F010EBA23764}" destId="{343ABED0-3B45-374A-9C38-DA79C9FCB9CA}" srcOrd="0" destOrd="0" presId="urn:microsoft.com/office/officeart/2005/8/layout/hierarchy2"/>
    <dgm:cxn modelId="{CD940F9F-7F8F-440E-BE10-EA216898E97A}" type="presOf" srcId="{626D4B5F-8C5F-2B47-9702-6990D0392D6E}" destId="{3087DE97-040E-154D-A610-9CB45742EA8E}" srcOrd="0" destOrd="0" presId="urn:microsoft.com/office/officeart/2005/8/layout/hierarchy2"/>
    <dgm:cxn modelId="{04B3E998-3E82-4247-86B4-03F92A6024C9}" type="presOf" srcId="{5E85108F-8856-1949-BD54-1D2CD0A348D8}" destId="{2295D9DB-3683-384D-A774-1E7FDB895A5B}" srcOrd="0" destOrd="0" presId="urn:microsoft.com/office/officeart/2005/8/layout/hierarchy2"/>
    <dgm:cxn modelId="{A285340C-00AC-4CAF-BE9E-BE16656A6DE4}" type="presOf" srcId="{2E43DBEB-6FDF-8F49-B582-04FF08FBAB0E}" destId="{CC5282F5-CE2F-684E-B42B-753FBC6ABFB9}" srcOrd="0" destOrd="0" presId="urn:microsoft.com/office/officeart/2005/8/layout/hierarchy2"/>
    <dgm:cxn modelId="{347C26F5-9D75-4FF6-A1A6-8D1791B02AAB}" type="presOf" srcId="{B1EF7CD8-6A65-A94D-BDBF-26119AC5138A}" destId="{14C153D2-7517-DF4C-AC81-1D187BBFD42F}" srcOrd="1" destOrd="0" presId="urn:microsoft.com/office/officeart/2005/8/layout/hierarchy2"/>
    <dgm:cxn modelId="{EC461C08-1359-6246-846B-7BD2776C9CF6}" srcId="{7CB733E8-35B3-4F41-9A6F-73BCAEAED79A}" destId="{B93D5895-E077-0647-B216-2254577C5E56}" srcOrd="2" destOrd="0" parTransId="{57237735-2BDF-0D4D-8D19-8299F92E79BC}" sibTransId="{88FFBE5A-3789-474A-A1A1-140CE4C6609D}"/>
    <dgm:cxn modelId="{AAD967F9-7733-4355-B4B3-7237041D114F}" type="presOf" srcId="{B8ADC76F-BE9C-BB40-A4CA-9E30BEFE107C}" destId="{4865D8FF-8877-A045-B49D-9ACFDD64FDEF}" srcOrd="1" destOrd="0" presId="urn:microsoft.com/office/officeart/2005/8/layout/hierarchy2"/>
    <dgm:cxn modelId="{9DAF2FB3-BDB3-4477-8008-8BDAB2A7AC7A}" type="presOf" srcId="{3FA829A1-54D2-9E42-A75B-D5A3367E96F1}" destId="{FB1A4E46-880B-BB4F-BA34-F5545D1226D7}" srcOrd="0" destOrd="0" presId="urn:microsoft.com/office/officeart/2005/8/layout/hierarchy2"/>
    <dgm:cxn modelId="{20AD7FAB-7DDF-40AF-8D4F-2872FB545258}" type="presOf" srcId="{6245904D-A4E4-5A4B-95FC-2347248DF833}" destId="{76743F4E-5636-7E43-857E-A8D388891D87}" srcOrd="1" destOrd="0" presId="urn:microsoft.com/office/officeart/2005/8/layout/hierarchy2"/>
    <dgm:cxn modelId="{38B62A40-7FF2-4DBB-A3AD-480051BE23B0}" type="presOf" srcId="{E02522FF-E2B9-5D4D-A8E9-CA8272F53733}" destId="{5991FDEC-4729-E643-92FD-37D0EE6C70EC}" srcOrd="1" destOrd="0" presId="urn:microsoft.com/office/officeart/2005/8/layout/hierarchy2"/>
    <dgm:cxn modelId="{D216C04D-B314-46C7-8081-CD31933BD964}" type="presOf" srcId="{5D6FFA09-ADA8-8745-9B24-D65EC29BA384}" destId="{A0571062-C1B4-D24E-9566-14D81E31C142}" srcOrd="1" destOrd="0" presId="urn:microsoft.com/office/officeart/2005/8/layout/hierarchy2"/>
    <dgm:cxn modelId="{1791E8FA-F3A8-4DA4-B781-EEC4F03F6BF9}" type="presOf" srcId="{0E93B761-E020-384D-AD75-9AEE166A33C7}" destId="{09DD956B-442E-414A-B122-7AF6C72DFC29}" srcOrd="1" destOrd="0" presId="urn:microsoft.com/office/officeart/2005/8/layout/hierarchy2"/>
    <dgm:cxn modelId="{52F00622-16C3-3E48-A922-D63CF1AE15A9}" srcId="{7CB733E8-35B3-4F41-9A6F-73BCAEAED79A}" destId="{ABEC7AC6-020A-9243-A953-B39880D97FEB}" srcOrd="1" destOrd="0" parTransId="{8F4A45F5-215A-DB43-8283-2199CB0AC6B8}" sibTransId="{7190649B-C7C9-7448-95A4-5560168221EB}"/>
    <dgm:cxn modelId="{909516D7-6087-445C-A8BA-86B0D62C1FF7}" type="presOf" srcId="{8F4A45F5-215A-DB43-8283-2199CB0AC6B8}" destId="{19720260-CAB2-3446-9FEC-0D1AC8111729}" srcOrd="0" destOrd="0" presId="urn:microsoft.com/office/officeart/2005/8/layout/hierarchy2"/>
    <dgm:cxn modelId="{AB78FFF9-18A2-4E54-850B-3602BFF02E1A}" type="presOf" srcId="{4AC46E0A-CBDD-404E-9178-762FD2628C08}" destId="{0EAEBC08-159A-4347-BC8D-3864786020AF}" srcOrd="1" destOrd="0" presId="urn:microsoft.com/office/officeart/2005/8/layout/hierarchy2"/>
    <dgm:cxn modelId="{FFD38CE4-520B-4931-B3A2-2372A5E4A2A2}" type="presOf" srcId="{B1EF7CD8-6A65-A94D-BDBF-26119AC5138A}" destId="{7CDFC69F-FAC2-3944-B47F-0CF791DDEDA3}" srcOrd="0" destOrd="0" presId="urn:microsoft.com/office/officeart/2005/8/layout/hierarchy2"/>
    <dgm:cxn modelId="{A36A3D22-5137-4958-8AF4-92DBCB8E1254}" type="presOf" srcId="{323CFE21-0F06-494E-876C-75293E562E24}" destId="{C2BEDEC3-433D-8940-9976-865B311EAA2C}" srcOrd="1" destOrd="0" presId="urn:microsoft.com/office/officeart/2005/8/layout/hierarchy2"/>
    <dgm:cxn modelId="{73CEE20D-5D71-FC4C-BFB2-AFBB623DF75F}" srcId="{072D0C5D-FB7D-BC4C-86B9-90A2917354A7}" destId="{A2008F02-56F7-8D44-A076-A52695398F3E}" srcOrd="0" destOrd="0" parTransId="{4AC46E0A-CBDD-404E-9178-762FD2628C08}" sibTransId="{822BF113-1CB3-7847-9CEF-F70F5F165F98}"/>
    <dgm:cxn modelId="{CC8AB43B-D54C-5E47-923A-0D7D10C7F306}" srcId="{92CD89E8-FF9C-7848-9120-CD7BA1BBBAC9}" destId="{410FBFCE-F1D0-9F4C-A2F7-A1EADA9CCE52}" srcOrd="0" destOrd="0" parTransId="{5E59FE6C-99DF-FB4B-AF77-ACC33B4C904B}" sibTransId="{6C8BBCCC-A89E-2342-BC9F-83797684E0F6}"/>
    <dgm:cxn modelId="{DCFCFE60-33C7-4F72-A25F-AB36155F4C98}" type="presParOf" srcId="{A286618A-D84A-D044-8AEA-EA13A75F8638}" destId="{7881E728-5045-5D4E-BCAA-BB887899FA2A}" srcOrd="0" destOrd="0" presId="urn:microsoft.com/office/officeart/2005/8/layout/hierarchy2"/>
    <dgm:cxn modelId="{09F35C52-D6B1-40F8-BAF4-F4413D2551AF}" type="presParOf" srcId="{7881E728-5045-5D4E-BCAA-BB887899FA2A}" destId="{082E4D57-093A-0A47-B03B-45E9CEEDEC2D}" srcOrd="0" destOrd="0" presId="urn:microsoft.com/office/officeart/2005/8/layout/hierarchy2"/>
    <dgm:cxn modelId="{FEE0EFC0-9B22-4DA7-81F1-85D559970563}" type="presParOf" srcId="{7881E728-5045-5D4E-BCAA-BB887899FA2A}" destId="{242FBA93-997F-4C49-B6C0-831C22FADC43}" srcOrd="1" destOrd="0" presId="urn:microsoft.com/office/officeart/2005/8/layout/hierarchy2"/>
    <dgm:cxn modelId="{D45E774B-2D4D-41B9-A97D-A38912B6177F}" type="presParOf" srcId="{242FBA93-997F-4C49-B6C0-831C22FADC43}" destId="{076B98FC-4A11-6A48-83E7-07F676B4B637}" srcOrd="0" destOrd="0" presId="urn:microsoft.com/office/officeart/2005/8/layout/hierarchy2"/>
    <dgm:cxn modelId="{71A9015C-78D1-4180-892C-D63C7C7D76AA}" type="presParOf" srcId="{076B98FC-4A11-6A48-83E7-07F676B4B637}" destId="{A54DC9DD-E2CB-EE42-813C-8F938CAE4183}" srcOrd="0" destOrd="0" presId="urn:microsoft.com/office/officeart/2005/8/layout/hierarchy2"/>
    <dgm:cxn modelId="{C790FFA4-C447-4963-BD71-6EA61F21E372}" type="presParOf" srcId="{242FBA93-997F-4C49-B6C0-831C22FADC43}" destId="{BE5B822E-F4BF-7D4F-81FD-9CBBF63A8889}" srcOrd="1" destOrd="0" presId="urn:microsoft.com/office/officeart/2005/8/layout/hierarchy2"/>
    <dgm:cxn modelId="{A866A49C-C5CC-4185-8119-5D0458741E26}" type="presParOf" srcId="{BE5B822E-F4BF-7D4F-81FD-9CBBF63A8889}" destId="{5C429747-D676-484F-A34D-6B310DD3BAE0}" srcOrd="0" destOrd="0" presId="urn:microsoft.com/office/officeart/2005/8/layout/hierarchy2"/>
    <dgm:cxn modelId="{21913FE8-2204-49A3-8857-B0F0FAD0D34D}" type="presParOf" srcId="{BE5B822E-F4BF-7D4F-81FD-9CBBF63A8889}" destId="{0FB5F536-41F2-AE4B-94F8-039B007ACA2D}" srcOrd="1" destOrd="0" presId="urn:microsoft.com/office/officeart/2005/8/layout/hierarchy2"/>
    <dgm:cxn modelId="{8319FDB8-7E74-4BD1-BCDB-5DA9743F9745}" type="presParOf" srcId="{0FB5F536-41F2-AE4B-94F8-039B007ACA2D}" destId="{4B6CDFBC-58B1-B94B-BABC-6B8D93330D2A}" srcOrd="0" destOrd="0" presId="urn:microsoft.com/office/officeart/2005/8/layout/hierarchy2"/>
    <dgm:cxn modelId="{31C74176-3800-4E74-B2EA-8B4F4502835B}" type="presParOf" srcId="{4B6CDFBC-58B1-B94B-BABC-6B8D93330D2A}" destId="{0EAEBC08-159A-4347-BC8D-3864786020AF}" srcOrd="0" destOrd="0" presId="urn:microsoft.com/office/officeart/2005/8/layout/hierarchy2"/>
    <dgm:cxn modelId="{526C0503-8B5D-43C7-B482-41464C91627B}" type="presParOf" srcId="{0FB5F536-41F2-AE4B-94F8-039B007ACA2D}" destId="{B64F905E-D6BC-9847-8A81-4ADE680B8FC8}" srcOrd="1" destOrd="0" presId="urn:microsoft.com/office/officeart/2005/8/layout/hierarchy2"/>
    <dgm:cxn modelId="{36D77872-53EE-4993-9E42-470133DAA1C6}" type="presParOf" srcId="{B64F905E-D6BC-9847-8A81-4ADE680B8FC8}" destId="{8AF79623-827D-9D45-82D7-68974DD55CF5}" srcOrd="0" destOrd="0" presId="urn:microsoft.com/office/officeart/2005/8/layout/hierarchy2"/>
    <dgm:cxn modelId="{DA5982AA-A564-4B7F-868F-6D6046A82A47}" type="presParOf" srcId="{B64F905E-D6BC-9847-8A81-4ADE680B8FC8}" destId="{CD94AD48-9705-1747-9008-20120AF9DD7B}" srcOrd="1" destOrd="0" presId="urn:microsoft.com/office/officeart/2005/8/layout/hierarchy2"/>
    <dgm:cxn modelId="{D5EE26E3-DD7A-4012-B25D-A4E8A0F22A5E}" type="presParOf" srcId="{CD94AD48-9705-1747-9008-20120AF9DD7B}" destId="{3B76758E-201F-784A-9A07-9FBA699BC302}" srcOrd="0" destOrd="0" presId="urn:microsoft.com/office/officeart/2005/8/layout/hierarchy2"/>
    <dgm:cxn modelId="{386DD581-5DA4-4B87-812D-7F3B124CB3DC}" type="presParOf" srcId="{3B76758E-201F-784A-9A07-9FBA699BC302}" destId="{0457235A-47A1-D34B-9FFA-B4A539E105AD}" srcOrd="0" destOrd="0" presId="urn:microsoft.com/office/officeart/2005/8/layout/hierarchy2"/>
    <dgm:cxn modelId="{494C8EB0-2FBA-42CD-A238-611B51549A8B}" type="presParOf" srcId="{CD94AD48-9705-1747-9008-20120AF9DD7B}" destId="{F6060CCE-ACB1-A643-8F05-2F521F14E640}" srcOrd="1" destOrd="0" presId="urn:microsoft.com/office/officeart/2005/8/layout/hierarchy2"/>
    <dgm:cxn modelId="{35A52C88-A6AD-4B1C-B72A-D214CD58EB9F}" type="presParOf" srcId="{F6060CCE-ACB1-A643-8F05-2F521F14E640}" destId="{84FBBA4A-FEDD-8F49-9CE7-39421448760F}" srcOrd="0" destOrd="0" presId="urn:microsoft.com/office/officeart/2005/8/layout/hierarchy2"/>
    <dgm:cxn modelId="{1F4EFB67-3765-4D62-B9CE-2F44BFC61595}" type="presParOf" srcId="{F6060CCE-ACB1-A643-8F05-2F521F14E640}" destId="{AC610DAF-02F9-154E-B3C7-EAC5CA88EF06}" srcOrd="1" destOrd="0" presId="urn:microsoft.com/office/officeart/2005/8/layout/hierarchy2"/>
    <dgm:cxn modelId="{CAB4597D-72CA-4EF0-B461-AA3DB6B69169}" type="presParOf" srcId="{0FB5F536-41F2-AE4B-94F8-039B007ACA2D}" destId="{FA3DD138-212E-5543-904B-D3523001109F}" srcOrd="2" destOrd="0" presId="urn:microsoft.com/office/officeart/2005/8/layout/hierarchy2"/>
    <dgm:cxn modelId="{D22D2203-A746-4E09-A1AB-BF669DEE4F85}" type="presParOf" srcId="{FA3DD138-212E-5543-904B-D3523001109F}" destId="{19BC07A2-7A2A-8649-B298-13DDFD258CA0}" srcOrd="0" destOrd="0" presId="urn:microsoft.com/office/officeart/2005/8/layout/hierarchy2"/>
    <dgm:cxn modelId="{1A49EF02-481A-4C38-9131-E2513303F128}" type="presParOf" srcId="{0FB5F536-41F2-AE4B-94F8-039B007ACA2D}" destId="{1034BDF2-3DE4-134C-825D-6E31143CA9EF}" srcOrd="3" destOrd="0" presId="urn:microsoft.com/office/officeart/2005/8/layout/hierarchy2"/>
    <dgm:cxn modelId="{1B4E5028-6B1E-4567-A513-668BFC9049B5}" type="presParOf" srcId="{1034BDF2-3DE4-134C-825D-6E31143CA9EF}" destId="{C68D6BE0-44DE-1141-ACE7-D16607E30419}" srcOrd="0" destOrd="0" presId="urn:microsoft.com/office/officeart/2005/8/layout/hierarchy2"/>
    <dgm:cxn modelId="{25B29E1D-CE72-458C-BAFA-4CCC42623D94}" type="presParOf" srcId="{1034BDF2-3DE4-134C-825D-6E31143CA9EF}" destId="{3CED8B1D-F788-8C4A-A1EF-1DBD9301DC27}" srcOrd="1" destOrd="0" presId="urn:microsoft.com/office/officeart/2005/8/layout/hierarchy2"/>
    <dgm:cxn modelId="{6D3CE63C-283B-4351-BCAA-D4240D9CD51E}" type="presParOf" srcId="{3CED8B1D-F788-8C4A-A1EF-1DBD9301DC27}" destId="{47BB47A4-4EAC-6F4A-99EE-CB95219D1180}" srcOrd="0" destOrd="0" presId="urn:microsoft.com/office/officeart/2005/8/layout/hierarchy2"/>
    <dgm:cxn modelId="{FF56BD40-7DFE-43F7-B872-C7B28D4A3269}" type="presParOf" srcId="{47BB47A4-4EAC-6F4A-99EE-CB95219D1180}" destId="{4865D8FF-8877-A045-B49D-9ACFDD64FDEF}" srcOrd="0" destOrd="0" presId="urn:microsoft.com/office/officeart/2005/8/layout/hierarchy2"/>
    <dgm:cxn modelId="{0EA7E426-70C9-47BB-938C-DF57F8F20B9E}" type="presParOf" srcId="{3CED8B1D-F788-8C4A-A1EF-1DBD9301DC27}" destId="{530E48DA-A3E2-2949-AA4E-993BE9605367}" srcOrd="1" destOrd="0" presId="urn:microsoft.com/office/officeart/2005/8/layout/hierarchy2"/>
    <dgm:cxn modelId="{AB8D0471-20EB-4830-8BC1-AE820018784E}" type="presParOf" srcId="{530E48DA-A3E2-2949-AA4E-993BE9605367}" destId="{CC5282F5-CE2F-684E-B42B-753FBC6ABFB9}" srcOrd="0" destOrd="0" presId="urn:microsoft.com/office/officeart/2005/8/layout/hierarchy2"/>
    <dgm:cxn modelId="{A2A9EF12-7CF5-4303-A07D-78FC80F0AC72}" type="presParOf" srcId="{530E48DA-A3E2-2949-AA4E-993BE9605367}" destId="{26A62FEE-2D54-AF43-8F5F-AE3B97C91515}" srcOrd="1" destOrd="0" presId="urn:microsoft.com/office/officeart/2005/8/layout/hierarchy2"/>
    <dgm:cxn modelId="{0AEE0C25-1498-4960-B55B-BDABD84D523B}" type="presParOf" srcId="{3CED8B1D-F788-8C4A-A1EF-1DBD9301DC27}" destId="{343ABED0-3B45-374A-9C38-DA79C9FCB9CA}" srcOrd="2" destOrd="0" presId="urn:microsoft.com/office/officeart/2005/8/layout/hierarchy2"/>
    <dgm:cxn modelId="{F29604AD-450A-404C-8D8A-1B74E587D9EA}" type="presParOf" srcId="{343ABED0-3B45-374A-9C38-DA79C9FCB9CA}" destId="{67008F03-744C-934F-A4E1-01395AF0A727}" srcOrd="0" destOrd="0" presId="urn:microsoft.com/office/officeart/2005/8/layout/hierarchy2"/>
    <dgm:cxn modelId="{B737A56A-8E48-42CD-89A6-1A3324292B16}" type="presParOf" srcId="{3CED8B1D-F788-8C4A-A1EF-1DBD9301DC27}" destId="{AB714080-D07A-0D44-B074-F3203DDE2790}" srcOrd="3" destOrd="0" presId="urn:microsoft.com/office/officeart/2005/8/layout/hierarchy2"/>
    <dgm:cxn modelId="{5DD991F3-0FC8-495F-A58B-F827D7F0A93A}" type="presParOf" srcId="{AB714080-D07A-0D44-B074-F3203DDE2790}" destId="{FB1A4E46-880B-BB4F-BA34-F5545D1226D7}" srcOrd="0" destOrd="0" presId="urn:microsoft.com/office/officeart/2005/8/layout/hierarchy2"/>
    <dgm:cxn modelId="{0CA00352-278E-4B5A-A3E6-28C2651E6C65}" type="presParOf" srcId="{AB714080-D07A-0D44-B074-F3203DDE2790}" destId="{37CB7E87-51BC-4040-9CB2-144C54F0E05C}" srcOrd="1" destOrd="0" presId="urn:microsoft.com/office/officeart/2005/8/layout/hierarchy2"/>
    <dgm:cxn modelId="{6995C569-3315-476A-B99B-6F9BB92BC6BC}" type="presParOf" srcId="{0FB5F536-41F2-AE4B-94F8-039B007ACA2D}" destId="{A4076CF1-4974-514B-8407-3D432AF3F06B}" srcOrd="4" destOrd="0" presId="urn:microsoft.com/office/officeart/2005/8/layout/hierarchy2"/>
    <dgm:cxn modelId="{B66C28EB-70EF-4C47-88BD-C21EBC9F76B6}" type="presParOf" srcId="{A4076CF1-4974-514B-8407-3D432AF3F06B}" destId="{09DD956B-442E-414A-B122-7AF6C72DFC29}" srcOrd="0" destOrd="0" presId="urn:microsoft.com/office/officeart/2005/8/layout/hierarchy2"/>
    <dgm:cxn modelId="{B7DA8937-3C47-495C-A367-CA9712FB334F}" type="presParOf" srcId="{0FB5F536-41F2-AE4B-94F8-039B007ACA2D}" destId="{27FC2F63-C99E-DF47-91BB-815667BD57B5}" srcOrd="5" destOrd="0" presId="urn:microsoft.com/office/officeart/2005/8/layout/hierarchy2"/>
    <dgm:cxn modelId="{95E18F86-E8C1-415F-A092-9B8FE75A0600}" type="presParOf" srcId="{27FC2F63-C99E-DF47-91BB-815667BD57B5}" destId="{3087DE97-040E-154D-A610-9CB45742EA8E}" srcOrd="0" destOrd="0" presId="urn:microsoft.com/office/officeart/2005/8/layout/hierarchy2"/>
    <dgm:cxn modelId="{4A96B1B5-35FF-4208-9A7F-5C1AC607E9C8}" type="presParOf" srcId="{27FC2F63-C99E-DF47-91BB-815667BD57B5}" destId="{D5C6C634-32A9-DC46-9A6A-6E349ED2BB45}" srcOrd="1" destOrd="0" presId="urn:microsoft.com/office/officeart/2005/8/layout/hierarchy2"/>
    <dgm:cxn modelId="{959BDA76-2E85-4929-A865-1F3E9B3C225C}" type="presParOf" srcId="{242FBA93-997F-4C49-B6C0-831C22FADC43}" destId="{0D88FE85-A707-CF4D-B637-C9A1E86C3522}" srcOrd="2" destOrd="0" presId="urn:microsoft.com/office/officeart/2005/8/layout/hierarchy2"/>
    <dgm:cxn modelId="{85ADE033-F902-466D-908B-8F56E0C66D5D}" type="presParOf" srcId="{0D88FE85-A707-CF4D-B637-C9A1E86C3522}" destId="{A0571062-C1B4-D24E-9566-14D81E31C142}" srcOrd="0" destOrd="0" presId="urn:microsoft.com/office/officeart/2005/8/layout/hierarchy2"/>
    <dgm:cxn modelId="{64A93967-E378-4CC4-8A5E-1F5B6FB51FC1}" type="presParOf" srcId="{242FBA93-997F-4C49-B6C0-831C22FADC43}" destId="{BF737B8F-8746-2D4B-8608-A5B09BA690D5}" srcOrd="3" destOrd="0" presId="urn:microsoft.com/office/officeart/2005/8/layout/hierarchy2"/>
    <dgm:cxn modelId="{28AD875D-129C-42CE-BB25-487FB49063FC}" type="presParOf" srcId="{BF737B8F-8746-2D4B-8608-A5B09BA690D5}" destId="{B0CFEC26-9CAE-3843-BBBA-07613985F943}" srcOrd="0" destOrd="0" presId="urn:microsoft.com/office/officeart/2005/8/layout/hierarchy2"/>
    <dgm:cxn modelId="{43777532-64BC-4C49-91FE-36E5C15C7B0D}" type="presParOf" srcId="{BF737B8F-8746-2D4B-8608-A5B09BA690D5}" destId="{93BEDA20-52A8-C143-9D6D-10BEBD6A0513}" srcOrd="1" destOrd="0" presId="urn:microsoft.com/office/officeart/2005/8/layout/hierarchy2"/>
    <dgm:cxn modelId="{2E5EF464-4FD5-4D0E-8C2D-6B19A7DBD416}" type="presParOf" srcId="{93BEDA20-52A8-C143-9D6D-10BEBD6A0513}" destId="{81F66DB6-1013-7B45-AB83-0D8E76A20EC0}" srcOrd="0" destOrd="0" presId="urn:microsoft.com/office/officeart/2005/8/layout/hierarchy2"/>
    <dgm:cxn modelId="{3737C435-4D84-4D50-826D-CA8756344593}" type="presParOf" srcId="{81F66DB6-1013-7B45-AB83-0D8E76A20EC0}" destId="{350AEE5F-AC12-BD44-9BB6-6CDC941C8554}" srcOrd="0" destOrd="0" presId="urn:microsoft.com/office/officeart/2005/8/layout/hierarchy2"/>
    <dgm:cxn modelId="{FB92BD0D-5CD4-4CAF-AF85-183BCFAC48C4}" type="presParOf" srcId="{93BEDA20-52A8-C143-9D6D-10BEBD6A0513}" destId="{152FFB39-1574-7242-98F0-01F0064236D4}" srcOrd="1" destOrd="0" presId="urn:microsoft.com/office/officeart/2005/8/layout/hierarchy2"/>
    <dgm:cxn modelId="{3E04FFFB-3271-4A01-A3FD-209298BB787E}" type="presParOf" srcId="{152FFB39-1574-7242-98F0-01F0064236D4}" destId="{F6EF01DA-8995-F141-9658-0FDF35412DEA}" srcOrd="0" destOrd="0" presId="urn:microsoft.com/office/officeart/2005/8/layout/hierarchy2"/>
    <dgm:cxn modelId="{EEB25EBB-1D4F-48D2-82FB-E162CEF165A3}" type="presParOf" srcId="{152FFB39-1574-7242-98F0-01F0064236D4}" destId="{C3260C1A-C113-7F4B-B47E-80D6374F6BE1}" srcOrd="1" destOrd="0" presId="urn:microsoft.com/office/officeart/2005/8/layout/hierarchy2"/>
    <dgm:cxn modelId="{9734AADF-3BC7-4A86-84EA-281787BDE360}" type="presParOf" srcId="{93BEDA20-52A8-C143-9D6D-10BEBD6A0513}" destId="{19720260-CAB2-3446-9FEC-0D1AC8111729}" srcOrd="2" destOrd="0" presId="urn:microsoft.com/office/officeart/2005/8/layout/hierarchy2"/>
    <dgm:cxn modelId="{E12738CB-4AF1-4E6F-9594-D9885E8826CD}" type="presParOf" srcId="{19720260-CAB2-3446-9FEC-0D1AC8111729}" destId="{DFBEAB51-7AC0-7041-AC09-40019C809E78}" srcOrd="0" destOrd="0" presId="urn:microsoft.com/office/officeart/2005/8/layout/hierarchy2"/>
    <dgm:cxn modelId="{3C46822B-D195-429F-AF6F-FDF8EC8FD4E0}" type="presParOf" srcId="{93BEDA20-52A8-C143-9D6D-10BEBD6A0513}" destId="{8727537D-ABB9-E34F-9FAB-C5038A702532}" srcOrd="3" destOrd="0" presId="urn:microsoft.com/office/officeart/2005/8/layout/hierarchy2"/>
    <dgm:cxn modelId="{43A033E0-B0E3-401E-88A9-599C9876F809}" type="presParOf" srcId="{8727537D-ABB9-E34F-9FAB-C5038A702532}" destId="{EF0E6F1B-274C-DF41-8614-DF246A0A30A0}" srcOrd="0" destOrd="0" presId="urn:microsoft.com/office/officeart/2005/8/layout/hierarchy2"/>
    <dgm:cxn modelId="{9C377434-3696-4327-8716-1F3E2F1C12C2}" type="presParOf" srcId="{8727537D-ABB9-E34F-9FAB-C5038A702532}" destId="{933762B5-632B-8A49-9086-1CE9A7E52FBC}" srcOrd="1" destOrd="0" presId="urn:microsoft.com/office/officeart/2005/8/layout/hierarchy2"/>
    <dgm:cxn modelId="{8ABB501D-C0A2-44A9-9517-4A96D9D2DC7E}" type="presParOf" srcId="{933762B5-632B-8A49-9086-1CE9A7E52FBC}" destId="{0B7A07A5-734A-9C4E-BAC0-CE4322A97A2B}" srcOrd="0" destOrd="0" presId="urn:microsoft.com/office/officeart/2005/8/layout/hierarchy2"/>
    <dgm:cxn modelId="{FE2B5C20-FF3E-4D2F-9C89-BECDF2DCF810}" type="presParOf" srcId="{0B7A07A5-734A-9C4E-BAC0-CE4322A97A2B}" destId="{C2BEDEC3-433D-8940-9976-865B311EAA2C}" srcOrd="0" destOrd="0" presId="urn:microsoft.com/office/officeart/2005/8/layout/hierarchy2"/>
    <dgm:cxn modelId="{92196A8E-5DFE-455A-BB4D-99287D0D24ED}" type="presParOf" srcId="{933762B5-632B-8A49-9086-1CE9A7E52FBC}" destId="{4E2B242C-621C-5B44-A41B-BAEDC47EDD4A}" srcOrd="1" destOrd="0" presId="urn:microsoft.com/office/officeart/2005/8/layout/hierarchy2"/>
    <dgm:cxn modelId="{C19AE223-55D9-4C77-82DC-2515A00817E8}" type="presParOf" srcId="{4E2B242C-621C-5B44-A41B-BAEDC47EDD4A}" destId="{77960A4B-D8FB-7B4E-B058-B79A4CAB3D75}" srcOrd="0" destOrd="0" presId="urn:microsoft.com/office/officeart/2005/8/layout/hierarchy2"/>
    <dgm:cxn modelId="{E2C29C27-6434-4B44-B23A-C7078805680F}" type="presParOf" srcId="{4E2B242C-621C-5B44-A41B-BAEDC47EDD4A}" destId="{C030F060-E537-4641-A1D0-8896F322951C}" srcOrd="1" destOrd="0" presId="urn:microsoft.com/office/officeart/2005/8/layout/hierarchy2"/>
    <dgm:cxn modelId="{8F4EE346-1CB6-4AE0-9041-24E2D067B335}" type="presParOf" srcId="{933762B5-632B-8A49-9086-1CE9A7E52FBC}" destId="{23B68D30-8445-2741-8212-7401C0FBFF53}" srcOrd="2" destOrd="0" presId="urn:microsoft.com/office/officeart/2005/8/layout/hierarchy2"/>
    <dgm:cxn modelId="{20CDDBC9-6314-45A8-9F6F-5388FBDD5CD5}" type="presParOf" srcId="{23B68D30-8445-2741-8212-7401C0FBFF53}" destId="{B563306C-6745-4E42-97D0-275FB5FAAA76}" srcOrd="0" destOrd="0" presId="urn:microsoft.com/office/officeart/2005/8/layout/hierarchy2"/>
    <dgm:cxn modelId="{F25C1626-9E4A-4A36-8104-83DF4BC06CF5}" type="presParOf" srcId="{933762B5-632B-8A49-9086-1CE9A7E52FBC}" destId="{B1DF968D-3D59-464F-9C6D-253D7DF70784}" srcOrd="3" destOrd="0" presId="urn:microsoft.com/office/officeart/2005/8/layout/hierarchy2"/>
    <dgm:cxn modelId="{6BEB563F-767F-403E-BBFE-DFAA3BDEA14E}" type="presParOf" srcId="{B1DF968D-3D59-464F-9C6D-253D7DF70784}" destId="{2295D9DB-3683-384D-A774-1E7FDB895A5B}" srcOrd="0" destOrd="0" presId="urn:microsoft.com/office/officeart/2005/8/layout/hierarchy2"/>
    <dgm:cxn modelId="{90EE162F-D9B3-4599-8B44-DC1532EAF44B}" type="presParOf" srcId="{B1DF968D-3D59-464F-9C6D-253D7DF70784}" destId="{8F5130BD-857C-5B49-870D-BEB402F0389C}" srcOrd="1" destOrd="0" presId="urn:microsoft.com/office/officeart/2005/8/layout/hierarchy2"/>
    <dgm:cxn modelId="{A4BB481A-B80B-44F5-8E48-148D294FB61E}" type="presParOf" srcId="{93BEDA20-52A8-C143-9D6D-10BEBD6A0513}" destId="{6C936BFF-5B9F-E446-AB61-CA9A30498E8F}" srcOrd="4" destOrd="0" presId="urn:microsoft.com/office/officeart/2005/8/layout/hierarchy2"/>
    <dgm:cxn modelId="{C5F1B4A1-CC20-4810-9692-498E68E6332F}" type="presParOf" srcId="{6C936BFF-5B9F-E446-AB61-CA9A30498E8F}" destId="{4E01B8DE-2EBD-624B-A565-0C27202D5E17}" srcOrd="0" destOrd="0" presId="urn:microsoft.com/office/officeart/2005/8/layout/hierarchy2"/>
    <dgm:cxn modelId="{2D2BDA56-68EB-4153-BD65-0637B6A66547}" type="presParOf" srcId="{93BEDA20-52A8-C143-9D6D-10BEBD6A0513}" destId="{FA2028B5-A94B-3947-A3BC-9B29668F1814}" srcOrd="5" destOrd="0" presId="urn:microsoft.com/office/officeart/2005/8/layout/hierarchy2"/>
    <dgm:cxn modelId="{32DCEA07-A592-440C-B33B-5EE533F9EEA2}" type="presParOf" srcId="{FA2028B5-A94B-3947-A3BC-9B29668F1814}" destId="{BBD45B3A-3B53-1043-A726-7D68C7D1008C}" srcOrd="0" destOrd="0" presId="urn:microsoft.com/office/officeart/2005/8/layout/hierarchy2"/>
    <dgm:cxn modelId="{55679813-789D-4F20-9C39-211CB7FA1288}" type="presParOf" srcId="{FA2028B5-A94B-3947-A3BC-9B29668F1814}" destId="{5A7455DE-D997-A54A-B49A-AF035C834678}" srcOrd="1" destOrd="0" presId="urn:microsoft.com/office/officeart/2005/8/layout/hierarchy2"/>
    <dgm:cxn modelId="{BC3C9BF7-A0ED-483F-9194-DC08A5F94D20}" type="presParOf" srcId="{5A7455DE-D997-A54A-B49A-AF035C834678}" destId="{7CDFC69F-FAC2-3944-B47F-0CF791DDEDA3}" srcOrd="0" destOrd="0" presId="urn:microsoft.com/office/officeart/2005/8/layout/hierarchy2"/>
    <dgm:cxn modelId="{16181B97-A12C-43B5-B2C2-5FFE6312E0EE}" type="presParOf" srcId="{7CDFC69F-FAC2-3944-B47F-0CF791DDEDA3}" destId="{14C153D2-7517-DF4C-AC81-1D187BBFD42F}" srcOrd="0" destOrd="0" presId="urn:microsoft.com/office/officeart/2005/8/layout/hierarchy2"/>
    <dgm:cxn modelId="{A60A96FF-B822-48ED-A22B-0603995A10D4}" type="presParOf" srcId="{5A7455DE-D997-A54A-B49A-AF035C834678}" destId="{61239B65-85DA-F046-A4C7-614985F13CE6}" srcOrd="1" destOrd="0" presId="urn:microsoft.com/office/officeart/2005/8/layout/hierarchy2"/>
    <dgm:cxn modelId="{9ADB135F-8470-4D12-8262-3839062DAB03}" type="presParOf" srcId="{61239B65-85DA-F046-A4C7-614985F13CE6}" destId="{34908181-7B40-5D4F-8E51-C03ECC77115A}" srcOrd="0" destOrd="0" presId="urn:microsoft.com/office/officeart/2005/8/layout/hierarchy2"/>
    <dgm:cxn modelId="{68D9A03F-6015-4FE7-AFBA-511B62F9FBC8}" type="presParOf" srcId="{61239B65-85DA-F046-A4C7-614985F13CE6}" destId="{E4DD9AC5-50FA-B241-8BD5-0ABD943C95DF}" srcOrd="1" destOrd="0" presId="urn:microsoft.com/office/officeart/2005/8/layout/hierarchy2"/>
    <dgm:cxn modelId="{479A1D1A-A4C7-4105-B5E9-3116793C5606}" type="presParOf" srcId="{5A7455DE-D997-A54A-B49A-AF035C834678}" destId="{F1353D91-B2E5-CC4F-8BF8-7957C82C27FA}" srcOrd="2" destOrd="0" presId="urn:microsoft.com/office/officeart/2005/8/layout/hierarchy2"/>
    <dgm:cxn modelId="{14908B72-4724-478D-9A2D-196ED01651A5}" type="presParOf" srcId="{F1353D91-B2E5-CC4F-8BF8-7957C82C27FA}" destId="{0A7E4E66-D55E-E449-ACE0-150C51B35A7E}" srcOrd="0" destOrd="0" presId="urn:microsoft.com/office/officeart/2005/8/layout/hierarchy2"/>
    <dgm:cxn modelId="{A3898E2F-8BA1-4D47-B1C3-B338192B3F75}" type="presParOf" srcId="{5A7455DE-D997-A54A-B49A-AF035C834678}" destId="{18C0F4DA-8F5E-9A4D-9693-74020CAF10CD}" srcOrd="3" destOrd="0" presId="urn:microsoft.com/office/officeart/2005/8/layout/hierarchy2"/>
    <dgm:cxn modelId="{38974D94-3DD6-4542-A439-210A86AF4302}" type="presParOf" srcId="{18C0F4DA-8F5E-9A4D-9693-74020CAF10CD}" destId="{F71C1B2B-BD76-AD40-9047-2B047A8435E3}" srcOrd="0" destOrd="0" presId="urn:microsoft.com/office/officeart/2005/8/layout/hierarchy2"/>
    <dgm:cxn modelId="{691DC17B-6621-4ACD-B6D2-633761612EF0}" type="presParOf" srcId="{18C0F4DA-8F5E-9A4D-9693-74020CAF10CD}" destId="{39C531ED-6285-F54C-9D5F-7807866E98E6}" srcOrd="1" destOrd="0" presId="urn:microsoft.com/office/officeart/2005/8/layout/hierarchy2"/>
    <dgm:cxn modelId="{C4BBD74C-91A4-46F5-BE85-B9CB620DBFC9}" type="presParOf" srcId="{242FBA93-997F-4C49-B6C0-831C22FADC43}" destId="{B6B8F540-DF25-D14A-B847-A32073FD7D98}" srcOrd="4" destOrd="0" presId="urn:microsoft.com/office/officeart/2005/8/layout/hierarchy2"/>
    <dgm:cxn modelId="{D90B3AF1-90B6-4A4C-9EFD-E1338ACB1676}" type="presParOf" srcId="{B6B8F540-DF25-D14A-B847-A32073FD7D98}" destId="{76743F4E-5636-7E43-857E-A8D388891D87}" srcOrd="0" destOrd="0" presId="urn:microsoft.com/office/officeart/2005/8/layout/hierarchy2"/>
    <dgm:cxn modelId="{9F0722DD-5475-4639-A520-27C68FD0D623}" type="presParOf" srcId="{242FBA93-997F-4C49-B6C0-831C22FADC43}" destId="{A8A22BFA-65AE-E44B-B9E0-55D1D7CD26B0}" srcOrd="5" destOrd="0" presId="urn:microsoft.com/office/officeart/2005/8/layout/hierarchy2"/>
    <dgm:cxn modelId="{8C3D6F56-9E93-4A9E-B28C-486A6F8271F8}" type="presParOf" srcId="{A8A22BFA-65AE-E44B-B9E0-55D1D7CD26B0}" destId="{FC86CF09-1E2B-A846-9298-F001E33197C3}" srcOrd="0" destOrd="0" presId="urn:microsoft.com/office/officeart/2005/8/layout/hierarchy2"/>
    <dgm:cxn modelId="{2AC03AB4-30C6-4131-B2CF-9FD150937870}" type="presParOf" srcId="{A8A22BFA-65AE-E44B-B9E0-55D1D7CD26B0}" destId="{AA022D48-6061-AE45-96A8-EFD1FD880A1E}" srcOrd="1" destOrd="0" presId="urn:microsoft.com/office/officeart/2005/8/layout/hierarchy2"/>
    <dgm:cxn modelId="{23C32200-9BA3-42D0-B3DB-63B43B5B5F8B}" type="presParOf" srcId="{AA022D48-6061-AE45-96A8-EFD1FD880A1E}" destId="{904B961A-C9BF-2F42-8385-CEDB7548DD17}" srcOrd="0" destOrd="0" presId="urn:microsoft.com/office/officeart/2005/8/layout/hierarchy2"/>
    <dgm:cxn modelId="{4E6D7CB2-051A-4DD5-BB01-550B11EDA04E}" type="presParOf" srcId="{904B961A-C9BF-2F42-8385-CEDB7548DD17}" destId="{000B377E-B903-074F-B44E-73E8178E2331}" srcOrd="0" destOrd="0" presId="urn:microsoft.com/office/officeart/2005/8/layout/hierarchy2"/>
    <dgm:cxn modelId="{472F36E8-D010-4F37-9451-C367175F768E}" type="presParOf" srcId="{AA022D48-6061-AE45-96A8-EFD1FD880A1E}" destId="{845B4388-1204-B649-8A6C-33C5116CA922}" srcOrd="1" destOrd="0" presId="urn:microsoft.com/office/officeart/2005/8/layout/hierarchy2"/>
    <dgm:cxn modelId="{4B009674-BB62-451F-AA69-065350513512}" type="presParOf" srcId="{845B4388-1204-B649-8A6C-33C5116CA922}" destId="{0EAD5B6B-4D36-7C4F-B8B3-0835391E12AB}" srcOrd="0" destOrd="0" presId="urn:microsoft.com/office/officeart/2005/8/layout/hierarchy2"/>
    <dgm:cxn modelId="{287EB551-F27D-4A8A-96FE-FF69FABC92AB}" type="presParOf" srcId="{845B4388-1204-B649-8A6C-33C5116CA922}" destId="{C29DE64A-3700-0242-8F5F-93A71A44C838}" srcOrd="1" destOrd="0" presId="urn:microsoft.com/office/officeart/2005/8/layout/hierarchy2"/>
    <dgm:cxn modelId="{41803424-5DCC-4357-8778-40334556E6E4}" type="presParOf" srcId="{AA022D48-6061-AE45-96A8-EFD1FD880A1E}" destId="{6FD95DA8-067E-9B4C-9F78-DBD7A12326F9}" srcOrd="2" destOrd="0" presId="urn:microsoft.com/office/officeart/2005/8/layout/hierarchy2"/>
    <dgm:cxn modelId="{B28854B2-3976-4ADC-AF4C-17E26BC95DF2}" type="presParOf" srcId="{6FD95DA8-067E-9B4C-9F78-DBD7A12326F9}" destId="{5991FDEC-4729-E643-92FD-37D0EE6C70EC}" srcOrd="0" destOrd="0" presId="urn:microsoft.com/office/officeart/2005/8/layout/hierarchy2"/>
    <dgm:cxn modelId="{9DE4DEF1-FFD9-4980-8D7F-537AD95CB4DE}" type="presParOf" srcId="{AA022D48-6061-AE45-96A8-EFD1FD880A1E}" destId="{44A32D09-8E7D-4E4E-A811-3D26E7CDB99C}" srcOrd="3" destOrd="0" presId="urn:microsoft.com/office/officeart/2005/8/layout/hierarchy2"/>
    <dgm:cxn modelId="{93B76848-76D2-4CAA-9991-C511A1DCA811}" type="presParOf" srcId="{44A32D09-8E7D-4E4E-A811-3D26E7CDB99C}" destId="{09C5F9FD-7C1D-8249-B8DD-16E03D454F89}" srcOrd="0" destOrd="0" presId="urn:microsoft.com/office/officeart/2005/8/layout/hierarchy2"/>
    <dgm:cxn modelId="{8A2B1857-EB58-4BA3-82F8-F05A52AABA62}" type="presParOf" srcId="{44A32D09-8E7D-4E4E-A811-3D26E7CDB99C}" destId="{EA1FB433-6CF1-BB48-928E-C5DE8FAB06BC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08164E-91EC-4E4C-8EF8-26539EDE1F6A}">
      <dsp:nvSpPr>
        <dsp:cNvPr id="0" name=""/>
        <dsp:cNvSpPr/>
      </dsp:nvSpPr>
      <dsp:spPr>
        <a:xfrm>
          <a:off x="2893804" y="1985347"/>
          <a:ext cx="1837659" cy="1837659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err="1" smtClean="0"/>
            <a:t>Reductie</a:t>
          </a:r>
          <a:endParaRPr lang="en-US" sz="2500" kern="1200" dirty="0" smtClean="0"/>
        </a:p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Energie-</a:t>
          </a:r>
          <a:r>
            <a:rPr lang="en-US" sz="2500" kern="1200" dirty="0" err="1" smtClean="0"/>
            <a:t>kost</a:t>
          </a:r>
          <a:endParaRPr lang="en-US" sz="2500" kern="1200" dirty="0"/>
        </a:p>
      </dsp:txBody>
      <dsp:txXfrm>
        <a:off x="3162923" y="2254466"/>
        <a:ext cx="1299421" cy="1299421"/>
      </dsp:txXfrm>
    </dsp:sp>
    <dsp:sp modelId="{F6860671-C10A-6D4C-99DA-681E443A30FA}">
      <dsp:nvSpPr>
        <dsp:cNvPr id="0" name=""/>
        <dsp:cNvSpPr/>
      </dsp:nvSpPr>
      <dsp:spPr>
        <a:xfrm rot="12900000">
          <a:off x="1711370" y="1664226"/>
          <a:ext cx="1408826" cy="523733"/>
        </a:xfrm>
        <a:prstGeom prst="leftArrow">
          <a:avLst>
            <a:gd name="adj1" fmla="val 60000"/>
            <a:gd name="adj2" fmla="val 50000"/>
          </a:avLst>
        </a:prstGeom>
        <a:solidFill>
          <a:srgbClr val="8EC02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B6EEA6F5-3013-3D46-87E0-31A534FDDA1B}">
      <dsp:nvSpPr>
        <dsp:cNvPr id="0" name=""/>
        <dsp:cNvSpPr/>
      </dsp:nvSpPr>
      <dsp:spPr>
        <a:xfrm>
          <a:off x="965874" y="1231344"/>
          <a:ext cx="1745776" cy="581427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Aankoop</a:t>
          </a:r>
          <a:endParaRPr lang="en-US" sz="2100" kern="1200" dirty="0"/>
        </a:p>
      </dsp:txBody>
      <dsp:txXfrm>
        <a:off x="982903" y="1248373"/>
        <a:ext cx="1711718" cy="547369"/>
      </dsp:txXfrm>
    </dsp:sp>
    <dsp:sp modelId="{B2DB2B32-6AC2-FD41-92C4-FDF6DC9F21F2}">
      <dsp:nvSpPr>
        <dsp:cNvPr id="0" name=""/>
        <dsp:cNvSpPr/>
      </dsp:nvSpPr>
      <dsp:spPr>
        <a:xfrm rot="16200000">
          <a:off x="3108220" y="937072"/>
          <a:ext cx="1408826" cy="523733"/>
        </a:xfrm>
        <a:prstGeom prst="leftArrow">
          <a:avLst>
            <a:gd name="adj1" fmla="val 60000"/>
            <a:gd name="adj2" fmla="val 50000"/>
          </a:avLst>
        </a:prstGeom>
        <a:solidFill>
          <a:srgbClr val="8EC02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422ADDC-A666-7043-B4EC-93E55CA513BA}">
      <dsp:nvSpPr>
        <dsp:cNvPr id="0" name=""/>
        <dsp:cNvSpPr/>
      </dsp:nvSpPr>
      <dsp:spPr>
        <a:xfrm>
          <a:off x="2939745" y="203811"/>
          <a:ext cx="1745776" cy="581427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Investeringen</a:t>
          </a:r>
          <a:endParaRPr lang="en-US" sz="2100" kern="1200" dirty="0"/>
        </a:p>
      </dsp:txBody>
      <dsp:txXfrm>
        <a:off x="2956774" y="220840"/>
        <a:ext cx="1711718" cy="547369"/>
      </dsp:txXfrm>
    </dsp:sp>
    <dsp:sp modelId="{92AE5718-7201-4640-92AB-BE81FD1D32A2}">
      <dsp:nvSpPr>
        <dsp:cNvPr id="0" name=""/>
        <dsp:cNvSpPr/>
      </dsp:nvSpPr>
      <dsp:spPr>
        <a:xfrm rot="19475736">
          <a:off x="4498858" y="1659612"/>
          <a:ext cx="1392682" cy="523733"/>
        </a:xfrm>
        <a:prstGeom prst="leftArrow">
          <a:avLst>
            <a:gd name="adj1" fmla="val 60000"/>
            <a:gd name="adj2" fmla="val 50000"/>
          </a:avLst>
        </a:prstGeom>
        <a:solidFill>
          <a:srgbClr val="8EC02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24C15A3-1FC5-5C4F-9EDB-C482711FF606}">
      <dsp:nvSpPr>
        <dsp:cNvPr id="0" name=""/>
        <dsp:cNvSpPr/>
      </dsp:nvSpPr>
      <dsp:spPr>
        <a:xfrm>
          <a:off x="4889887" y="1227337"/>
          <a:ext cx="1745776" cy="581441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 smtClean="0"/>
            <a:t>Operationeel</a:t>
          </a:r>
          <a:endParaRPr lang="en-US" sz="2100" kern="1200" dirty="0"/>
        </a:p>
      </dsp:txBody>
      <dsp:txXfrm>
        <a:off x="4906917" y="1244367"/>
        <a:ext cx="1711716" cy="54738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1820" y="200405"/>
          <a:ext cx="1632986" cy="653194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1820" y="200405"/>
        <a:ext cx="1469688" cy="653194"/>
      </dsp:txXfrm>
    </dsp:sp>
    <dsp:sp modelId="{5EF59913-DB1A-4C1B-9E88-C21503965DF7}">
      <dsp:nvSpPr>
        <dsp:cNvPr id="0" name=""/>
        <dsp:cNvSpPr/>
      </dsp:nvSpPr>
      <dsp:spPr>
        <a:xfrm>
          <a:off x="1309206" y="185257"/>
          <a:ext cx="1632986" cy="653194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35803" y="185257"/>
        <a:ext cx="979792" cy="653194"/>
      </dsp:txXfrm>
    </dsp:sp>
    <dsp:sp modelId="{DE04C892-9986-4C11-8E82-93F285815BAD}">
      <dsp:nvSpPr>
        <dsp:cNvPr id="0" name=""/>
        <dsp:cNvSpPr/>
      </dsp:nvSpPr>
      <dsp:spPr>
        <a:xfrm>
          <a:off x="2615595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-</a:t>
          </a:r>
          <a:r>
            <a:rPr lang="en-GB" sz="1400" b="1" kern="1200" noProof="0" dirty="0" err="1" smtClean="0"/>
            <a:t>llering</a:t>
          </a:r>
          <a:endParaRPr lang="en-GB" sz="1400" b="1" kern="1200" noProof="0" dirty="0"/>
        </a:p>
      </dsp:txBody>
      <dsp:txXfrm>
        <a:off x="2942192" y="185257"/>
        <a:ext cx="979792" cy="653194"/>
      </dsp:txXfrm>
    </dsp:sp>
    <dsp:sp modelId="{5DBBB54C-4C5C-422F-BE37-71270213C408}">
      <dsp:nvSpPr>
        <dsp:cNvPr id="0" name=""/>
        <dsp:cNvSpPr/>
      </dsp:nvSpPr>
      <dsp:spPr>
        <a:xfrm>
          <a:off x="3921984" y="185257"/>
          <a:ext cx="1886491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248581" y="185257"/>
        <a:ext cx="1233297" cy="653194"/>
      </dsp:txXfrm>
    </dsp:sp>
    <dsp:sp modelId="{557A5E4A-F1F5-4749-B988-E763089FCFBE}">
      <dsp:nvSpPr>
        <dsp:cNvPr id="0" name=""/>
        <dsp:cNvSpPr/>
      </dsp:nvSpPr>
      <dsp:spPr>
        <a:xfrm>
          <a:off x="5481879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808476" y="185257"/>
        <a:ext cx="979792" cy="653194"/>
      </dsp:txXfrm>
    </dsp:sp>
    <dsp:sp modelId="{3A2948AC-8449-4A60-A4DA-3C870472F676}">
      <dsp:nvSpPr>
        <dsp:cNvPr id="0" name=""/>
        <dsp:cNvSpPr/>
      </dsp:nvSpPr>
      <dsp:spPr>
        <a:xfrm>
          <a:off x="6788268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14865" y="185257"/>
        <a:ext cx="979792" cy="65319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2162" y="207465"/>
          <a:ext cx="1595966" cy="638386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2162" y="207465"/>
        <a:ext cx="1436370" cy="638386"/>
      </dsp:txXfrm>
    </dsp:sp>
    <dsp:sp modelId="{5EF59913-DB1A-4C1B-9E88-C21503965DF7}">
      <dsp:nvSpPr>
        <dsp:cNvPr id="0" name=""/>
        <dsp:cNvSpPr/>
      </dsp:nvSpPr>
      <dsp:spPr>
        <a:xfrm>
          <a:off x="1279909" y="192661"/>
          <a:ext cx="1595966" cy="638386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599102" y="192661"/>
        <a:ext cx="957580" cy="638386"/>
      </dsp:txXfrm>
    </dsp:sp>
    <dsp:sp modelId="{DE04C892-9986-4C11-8E82-93F285815BAD}">
      <dsp:nvSpPr>
        <dsp:cNvPr id="0" name=""/>
        <dsp:cNvSpPr/>
      </dsp:nvSpPr>
      <dsp:spPr>
        <a:xfrm>
          <a:off x="2556683" y="192661"/>
          <a:ext cx="1861775" cy="638386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Modellering</a:t>
          </a:r>
          <a:endParaRPr lang="en-GB" sz="1400" b="1" kern="1200" noProof="0" dirty="0"/>
        </a:p>
      </dsp:txBody>
      <dsp:txXfrm>
        <a:off x="2875876" y="192661"/>
        <a:ext cx="1223389" cy="638386"/>
      </dsp:txXfrm>
    </dsp:sp>
    <dsp:sp modelId="{5DBBB54C-4C5C-422F-BE37-71270213C408}">
      <dsp:nvSpPr>
        <dsp:cNvPr id="0" name=""/>
        <dsp:cNvSpPr/>
      </dsp:nvSpPr>
      <dsp:spPr>
        <a:xfrm>
          <a:off x="4099264" y="192661"/>
          <a:ext cx="1768123" cy="638386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418457" y="192661"/>
        <a:ext cx="1129737" cy="638386"/>
      </dsp:txXfrm>
    </dsp:sp>
    <dsp:sp modelId="{557A5E4A-F1F5-4749-B988-E763089FCFBE}">
      <dsp:nvSpPr>
        <dsp:cNvPr id="0" name=""/>
        <dsp:cNvSpPr/>
      </dsp:nvSpPr>
      <dsp:spPr>
        <a:xfrm>
          <a:off x="5548195" y="192661"/>
          <a:ext cx="1595966" cy="638386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867388" y="192661"/>
        <a:ext cx="957580" cy="638386"/>
      </dsp:txXfrm>
    </dsp:sp>
    <dsp:sp modelId="{3A2948AC-8449-4A60-A4DA-3C870472F676}">
      <dsp:nvSpPr>
        <dsp:cNvPr id="0" name=""/>
        <dsp:cNvSpPr/>
      </dsp:nvSpPr>
      <dsp:spPr>
        <a:xfrm>
          <a:off x="6824968" y="192661"/>
          <a:ext cx="1595966" cy="638386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44161" y="192661"/>
        <a:ext cx="957580" cy="63838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1820" y="200405"/>
          <a:ext cx="1632986" cy="653194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1820" y="200405"/>
        <a:ext cx="1469688" cy="653194"/>
      </dsp:txXfrm>
    </dsp:sp>
    <dsp:sp modelId="{5EF59913-DB1A-4C1B-9E88-C21503965DF7}">
      <dsp:nvSpPr>
        <dsp:cNvPr id="0" name=""/>
        <dsp:cNvSpPr/>
      </dsp:nvSpPr>
      <dsp:spPr>
        <a:xfrm>
          <a:off x="1309206" y="185257"/>
          <a:ext cx="1632986" cy="653194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35803" y="185257"/>
        <a:ext cx="979792" cy="653194"/>
      </dsp:txXfrm>
    </dsp:sp>
    <dsp:sp modelId="{DE04C892-9986-4C11-8E82-93F285815BAD}">
      <dsp:nvSpPr>
        <dsp:cNvPr id="0" name=""/>
        <dsp:cNvSpPr/>
      </dsp:nvSpPr>
      <dsp:spPr>
        <a:xfrm>
          <a:off x="2615595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42192" y="185257"/>
        <a:ext cx="979792" cy="653194"/>
      </dsp:txXfrm>
    </dsp:sp>
    <dsp:sp modelId="{5DBBB54C-4C5C-422F-BE37-71270213C408}">
      <dsp:nvSpPr>
        <dsp:cNvPr id="0" name=""/>
        <dsp:cNvSpPr/>
      </dsp:nvSpPr>
      <dsp:spPr>
        <a:xfrm>
          <a:off x="3921984" y="185257"/>
          <a:ext cx="1886491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Implemen-tatie</a:t>
          </a:r>
          <a:endParaRPr lang="en-GB" sz="1400" b="1" kern="1200" noProof="0" dirty="0"/>
        </a:p>
      </dsp:txBody>
      <dsp:txXfrm>
        <a:off x="4248581" y="185257"/>
        <a:ext cx="1233297" cy="653194"/>
      </dsp:txXfrm>
    </dsp:sp>
    <dsp:sp modelId="{557A5E4A-F1F5-4749-B988-E763089FCFBE}">
      <dsp:nvSpPr>
        <dsp:cNvPr id="0" name=""/>
        <dsp:cNvSpPr/>
      </dsp:nvSpPr>
      <dsp:spPr>
        <a:xfrm>
          <a:off x="5481879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808476" y="185257"/>
        <a:ext cx="979792" cy="653194"/>
      </dsp:txXfrm>
    </dsp:sp>
    <dsp:sp modelId="{3A2948AC-8449-4A60-A4DA-3C870472F676}">
      <dsp:nvSpPr>
        <dsp:cNvPr id="0" name=""/>
        <dsp:cNvSpPr/>
      </dsp:nvSpPr>
      <dsp:spPr>
        <a:xfrm>
          <a:off x="6788268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14865" y="185257"/>
        <a:ext cx="979792" cy="653194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0" y="204327"/>
          <a:ext cx="1612420" cy="644968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0" y="204327"/>
        <a:ext cx="1451178" cy="644968"/>
      </dsp:txXfrm>
    </dsp:sp>
    <dsp:sp modelId="{5EF59913-DB1A-4C1B-9E88-C21503965DF7}">
      <dsp:nvSpPr>
        <dsp:cNvPr id="0" name=""/>
        <dsp:cNvSpPr/>
      </dsp:nvSpPr>
      <dsp:spPr>
        <a:xfrm>
          <a:off x="1290322" y="189370"/>
          <a:ext cx="1612420" cy="644968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12806" y="189370"/>
        <a:ext cx="967452" cy="644968"/>
      </dsp:txXfrm>
    </dsp:sp>
    <dsp:sp modelId="{DE04C892-9986-4C11-8E82-93F285815BAD}">
      <dsp:nvSpPr>
        <dsp:cNvPr id="0" name=""/>
        <dsp:cNvSpPr/>
      </dsp:nvSpPr>
      <dsp:spPr>
        <a:xfrm>
          <a:off x="2580258" y="189370"/>
          <a:ext cx="1612420" cy="644968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02742" y="189370"/>
        <a:ext cx="967452" cy="644968"/>
      </dsp:txXfrm>
    </dsp:sp>
    <dsp:sp modelId="{5DBBB54C-4C5C-422F-BE37-71270213C408}">
      <dsp:nvSpPr>
        <dsp:cNvPr id="0" name=""/>
        <dsp:cNvSpPr/>
      </dsp:nvSpPr>
      <dsp:spPr>
        <a:xfrm>
          <a:off x="3870194" y="189370"/>
          <a:ext cx="1973618" cy="644968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Implementatie</a:t>
          </a:r>
          <a:endParaRPr lang="en-GB" sz="1400" b="1" kern="1200" noProof="0" dirty="0"/>
        </a:p>
      </dsp:txBody>
      <dsp:txXfrm>
        <a:off x="4192678" y="189370"/>
        <a:ext cx="1328650" cy="644968"/>
      </dsp:txXfrm>
    </dsp:sp>
    <dsp:sp modelId="{557A5E4A-F1F5-4749-B988-E763089FCFBE}">
      <dsp:nvSpPr>
        <dsp:cNvPr id="0" name=""/>
        <dsp:cNvSpPr/>
      </dsp:nvSpPr>
      <dsp:spPr>
        <a:xfrm>
          <a:off x="5521329" y="189370"/>
          <a:ext cx="1612420" cy="644968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843813" y="189370"/>
        <a:ext cx="967452" cy="644968"/>
      </dsp:txXfrm>
    </dsp:sp>
    <dsp:sp modelId="{3A2948AC-8449-4A60-A4DA-3C870472F676}">
      <dsp:nvSpPr>
        <dsp:cNvPr id="0" name=""/>
        <dsp:cNvSpPr/>
      </dsp:nvSpPr>
      <dsp:spPr>
        <a:xfrm>
          <a:off x="6811265" y="189370"/>
          <a:ext cx="1612420" cy="644968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33749" y="189370"/>
        <a:ext cx="967452" cy="644968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653" y="196874"/>
          <a:ext cx="1651496" cy="660598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653" y="196874"/>
        <a:ext cx="1486347" cy="660598"/>
      </dsp:txXfrm>
    </dsp:sp>
    <dsp:sp modelId="{5EF59913-DB1A-4C1B-9E88-C21503965DF7}">
      <dsp:nvSpPr>
        <dsp:cNvPr id="0" name=""/>
        <dsp:cNvSpPr/>
      </dsp:nvSpPr>
      <dsp:spPr>
        <a:xfrm>
          <a:off x="1322858" y="181555"/>
          <a:ext cx="1651496" cy="660598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53157" y="181555"/>
        <a:ext cx="990898" cy="660598"/>
      </dsp:txXfrm>
    </dsp:sp>
    <dsp:sp modelId="{DE04C892-9986-4C11-8E82-93F285815BAD}">
      <dsp:nvSpPr>
        <dsp:cNvPr id="0" name=""/>
        <dsp:cNvSpPr/>
      </dsp:nvSpPr>
      <dsp:spPr>
        <a:xfrm>
          <a:off x="2644055" y="181555"/>
          <a:ext cx="1651496" cy="660598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74354" y="181555"/>
        <a:ext cx="990898" cy="660598"/>
      </dsp:txXfrm>
    </dsp:sp>
    <dsp:sp modelId="{5DBBB54C-4C5C-422F-BE37-71270213C408}">
      <dsp:nvSpPr>
        <dsp:cNvPr id="0" name=""/>
        <dsp:cNvSpPr/>
      </dsp:nvSpPr>
      <dsp:spPr>
        <a:xfrm>
          <a:off x="3965252" y="181555"/>
          <a:ext cx="1814763" cy="660598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295551" y="181555"/>
        <a:ext cx="1154165" cy="660598"/>
      </dsp:txXfrm>
    </dsp:sp>
    <dsp:sp modelId="{557A5E4A-F1F5-4749-B988-E763089FCFBE}">
      <dsp:nvSpPr>
        <dsp:cNvPr id="0" name=""/>
        <dsp:cNvSpPr/>
      </dsp:nvSpPr>
      <dsp:spPr>
        <a:xfrm>
          <a:off x="5449717" y="181555"/>
          <a:ext cx="1651496" cy="660598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780016" y="181555"/>
        <a:ext cx="990898" cy="660598"/>
      </dsp:txXfrm>
    </dsp:sp>
    <dsp:sp modelId="{3A2948AC-8449-4A60-A4DA-3C870472F676}">
      <dsp:nvSpPr>
        <dsp:cNvPr id="0" name=""/>
        <dsp:cNvSpPr/>
      </dsp:nvSpPr>
      <dsp:spPr>
        <a:xfrm>
          <a:off x="6770914" y="181555"/>
          <a:ext cx="1651496" cy="660598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01213" y="181555"/>
        <a:ext cx="990898" cy="660598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1724" y="201189"/>
          <a:ext cx="1628873" cy="651549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1724" y="201189"/>
        <a:ext cx="1465986" cy="651549"/>
      </dsp:txXfrm>
    </dsp:sp>
    <dsp:sp modelId="{5EF59913-DB1A-4C1B-9E88-C21503965DF7}">
      <dsp:nvSpPr>
        <dsp:cNvPr id="0" name=""/>
        <dsp:cNvSpPr/>
      </dsp:nvSpPr>
      <dsp:spPr>
        <a:xfrm>
          <a:off x="1305816" y="186080"/>
          <a:ext cx="1628873" cy="65154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31591" y="186080"/>
        <a:ext cx="977324" cy="651549"/>
      </dsp:txXfrm>
    </dsp:sp>
    <dsp:sp modelId="{DE04C892-9986-4C11-8E82-93F285815BAD}">
      <dsp:nvSpPr>
        <dsp:cNvPr id="0" name=""/>
        <dsp:cNvSpPr/>
      </dsp:nvSpPr>
      <dsp:spPr>
        <a:xfrm>
          <a:off x="2608915" y="186080"/>
          <a:ext cx="1628873" cy="65154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34690" y="186080"/>
        <a:ext cx="977324" cy="651549"/>
      </dsp:txXfrm>
    </dsp:sp>
    <dsp:sp modelId="{5DBBB54C-4C5C-422F-BE37-71270213C408}">
      <dsp:nvSpPr>
        <dsp:cNvPr id="0" name=""/>
        <dsp:cNvSpPr/>
      </dsp:nvSpPr>
      <dsp:spPr>
        <a:xfrm>
          <a:off x="3912013" y="186080"/>
          <a:ext cx="1903142" cy="651549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237788" y="186080"/>
        <a:ext cx="1251593" cy="651549"/>
      </dsp:txXfrm>
    </dsp:sp>
    <dsp:sp modelId="{557A5E4A-F1F5-4749-B988-E763089FCFBE}">
      <dsp:nvSpPr>
        <dsp:cNvPr id="0" name=""/>
        <dsp:cNvSpPr/>
      </dsp:nvSpPr>
      <dsp:spPr>
        <a:xfrm>
          <a:off x="5489382" y="186080"/>
          <a:ext cx="1628873" cy="65154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815157" y="186080"/>
        <a:ext cx="977324" cy="651549"/>
      </dsp:txXfrm>
    </dsp:sp>
    <dsp:sp modelId="{3A2948AC-8449-4A60-A4DA-3C870472F676}">
      <dsp:nvSpPr>
        <dsp:cNvPr id="0" name=""/>
        <dsp:cNvSpPr/>
      </dsp:nvSpPr>
      <dsp:spPr>
        <a:xfrm>
          <a:off x="6792480" y="186080"/>
          <a:ext cx="1628873" cy="65154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18255" y="186080"/>
        <a:ext cx="977324" cy="651549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2591" y="201974"/>
          <a:ext cx="1624759" cy="649903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2591" y="201974"/>
        <a:ext cx="1462283" cy="649903"/>
      </dsp:txXfrm>
    </dsp:sp>
    <dsp:sp modelId="{5EF59913-DB1A-4C1B-9E88-C21503965DF7}">
      <dsp:nvSpPr>
        <dsp:cNvPr id="0" name=""/>
        <dsp:cNvSpPr/>
      </dsp:nvSpPr>
      <dsp:spPr>
        <a:xfrm>
          <a:off x="1303390" y="186903"/>
          <a:ext cx="1624759" cy="64990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28342" y="186903"/>
        <a:ext cx="974856" cy="649903"/>
      </dsp:txXfrm>
    </dsp:sp>
    <dsp:sp modelId="{DE04C892-9986-4C11-8E82-93F285815BAD}">
      <dsp:nvSpPr>
        <dsp:cNvPr id="0" name=""/>
        <dsp:cNvSpPr/>
      </dsp:nvSpPr>
      <dsp:spPr>
        <a:xfrm>
          <a:off x="2603198" y="186903"/>
          <a:ext cx="1624759" cy="64990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28150" y="186903"/>
        <a:ext cx="974856" cy="649903"/>
      </dsp:txXfrm>
    </dsp:sp>
    <dsp:sp modelId="{5DBBB54C-4C5C-422F-BE37-71270213C408}">
      <dsp:nvSpPr>
        <dsp:cNvPr id="0" name=""/>
        <dsp:cNvSpPr/>
      </dsp:nvSpPr>
      <dsp:spPr>
        <a:xfrm>
          <a:off x="3903006" y="186903"/>
          <a:ext cx="1917866" cy="649903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227958" y="186903"/>
        <a:ext cx="1267963" cy="649903"/>
      </dsp:txXfrm>
    </dsp:sp>
    <dsp:sp modelId="{557A5E4A-F1F5-4749-B988-E763089FCFBE}">
      <dsp:nvSpPr>
        <dsp:cNvPr id="0" name=""/>
        <dsp:cNvSpPr/>
      </dsp:nvSpPr>
      <dsp:spPr>
        <a:xfrm>
          <a:off x="5495921" y="186903"/>
          <a:ext cx="1624759" cy="64990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820873" y="186903"/>
        <a:ext cx="974856" cy="649903"/>
      </dsp:txXfrm>
    </dsp:sp>
    <dsp:sp modelId="{3A2948AC-8449-4A60-A4DA-3C870472F676}">
      <dsp:nvSpPr>
        <dsp:cNvPr id="0" name=""/>
        <dsp:cNvSpPr/>
      </dsp:nvSpPr>
      <dsp:spPr>
        <a:xfrm>
          <a:off x="6795729" y="186903"/>
          <a:ext cx="1624759" cy="64990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20681" y="186903"/>
        <a:ext cx="974856" cy="649903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73" y="200405"/>
          <a:ext cx="1632986" cy="653194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73" y="200405"/>
        <a:ext cx="1469688" cy="653194"/>
      </dsp:txXfrm>
    </dsp:sp>
    <dsp:sp modelId="{5EF59913-DB1A-4C1B-9E88-C21503965DF7}">
      <dsp:nvSpPr>
        <dsp:cNvPr id="0" name=""/>
        <dsp:cNvSpPr/>
      </dsp:nvSpPr>
      <dsp:spPr>
        <a:xfrm>
          <a:off x="1307459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34056" y="185257"/>
        <a:ext cx="979792" cy="653194"/>
      </dsp:txXfrm>
    </dsp:sp>
    <dsp:sp modelId="{DE04C892-9986-4C11-8E82-93F285815BAD}">
      <dsp:nvSpPr>
        <dsp:cNvPr id="0" name=""/>
        <dsp:cNvSpPr/>
      </dsp:nvSpPr>
      <dsp:spPr>
        <a:xfrm>
          <a:off x="2613848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40445" y="185257"/>
        <a:ext cx="979792" cy="653194"/>
      </dsp:txXfrm>
    </dsp:sp>
    <dsp:sp modelId="{5DBBB54C-4C5C-422F-BE37-71270213C408}">
      <dsp:nvSpPr>
        <dsp:cNvPr id="0" name=""/>
        <dsp:cNvSpPr/>
      </dsp:nvSpPr>
      <dsp:spPr>
        <a:xfrm>
          <a:off x="3920237" y="185257"/>
          <a:ext cx="1889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246834" y="185257"/>
        <a:ext cx="1236792" cy="653194"/>
      </dsp:txXfrm>
    </dsp:sp>
    <dsp:sp modelId="{557A5E4A-F1F5-4749-B988-E763089FCFBE}">
      <dsp:nvSpPr>
        <dsp:cNvPr id="0" name=""/>
        <dsp:cNvSpPr/>
      </dsp:nvSpPr>
      <dsp:spPr>
        <a:xfrm>
          <a:off x="5483626" y="185257"/>
          <a:ext cx="1632986" cy="653194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810223" y="185257"/>
        <a:ext cx="979792" cy="653194"/>
      </dsp:txXfrm>
    </dsp:sp>
    <dsp:sp modelId="{3A2948AC-8449-4A60-A4DA-3C870472F676}">
      <dsp:nvSpPr>
        <dsp:cNvPr id="0" name=""/>
        <dsp:cNvSpPr/>
      </dsp:nvSpPr>
      <dsp:spPr>
        <a:xfrm>
          <a:off x="6790015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16612" y="185257"/>
        <a:ext cx="979792" cy="653194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73" y="200405"/>
          <a:ext cx="1632986" cy="653194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73" y="200405"/>
        <a:ext cx="1469688" cy="653194"/>
      </dsp:txXfrm>
    </dsp:sp>
    <dsp:sp modelId="{5EF59913-DB1A-4C1B-9E88-C21503965DF7}">
      <dsp:nvSpPr>
        <dsp:cNvPr id="0" name=""/>
        <dsp:cNvSpPr/>
      </dsp:nvSpPr>
      <dsp:spPr>
        <a:xfrm>
          <a:off x="1307459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34056" y="185257"/>
        <a:ext cx="979792" cy="653194"/>
      </dsp:txXfrm>
    </dsp:sp>
    <dsp:sp modelId="{DE04C892-9986-4C11-8E82-93F285815BAD}">
      <dsp:nvSpPr>
        <dsp:cNvPr id="0" name=""/>
        <dsp:cNvSpPr/>
      </dsp:nvSpPr>
      <dsp:spPr>
        <a:xfrm>
          <a:off x="2613848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40445" y="185257"/>
        <a:ext cx="979792" cy="653194"/>
      </dsp:txXfrm>
    </dsp:sp>
    <dsp:sp modelId="{5DBBB54C-4C5C-422F-BE37-71270213C408}">
      <dsp:nvSpPr>
        <dsp:cNvPr id="0" name=""/>
        <dsp:cNvSpPr/>
      </dsp:nvSpPr>
      <dsp:spPr>
        <a:xfrm>
          <a:off x="3920237" y="185257"/>
          <a:ext cx="1889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246834" y="185257"/>
        <a:ext cx="1236792" cy="653194"/>
      </dsp:txXfrm>
    </dsp:sp>
    <dsp:sp modelId="{557A5E4A-F1F5-4749-B988-E763089FCFBE}">
      <dsp:nvSpPr>
        <dsp:cNvPr id="0" name=""/>
        <dsp:cNvSpPr/>
      </dsp:nvSpPr>
      <dsp:spPr>
        <a:xfrm>
          <a:off x="5483626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810223" y="185257"/>
        <a:ext cx="979792" cy="653194"/>
      </dsp:txXfrm>
    </dsp:sp>
    <dsp:sp modelId="{3A2948AC-8449-4A60-A4DA-3C870472F676}">
      <dsp:nvSpPr>
        <dsp:cNvPr id="0" name=""/>
        <dsp:cNvSpPr/>
      </dsp:nvSpPr>
      <dsp:spPr>
        <a:xfrm>
          <a:off x="6790015" y="185257"/>
          <a:ext cx="1632986" cy="653194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16612" y="185257"/>
        <a:ext cx="979792" cy="6531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33DFF-0490-AB4B-9E59-E7CCE17D3E75}">
      <dsp:nvSpPr>
        <dsp:cNvPr id="0" name=""/>
        <dsp:cNvSpPr/>
      </dsp:nvSpPr>
      <dsp:spPr>
        <a:xfrm rot="2547752">
          <a:off x="2910998" y="3163585"/>
          <a:ext cx="673312" cy="47548"/>
        </a:xfrm>
        <a:custGeom>
          <a:avLst/>
          <a:gdLst/>
          <a:ahLst/>
          <a:cxnLst/>
          <a:rect l="0" t="0" r="0" b="0"/>
          <a:pathLst>
            <a:path>
              <a:moveTo>
                <a:pt x="0" y="23774"/>
              </a:moveTo>
              <a:lnTo>
                <a:pt x="673312" y="2377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588B64-34DC-2B4F-8DC9-F17FE9611307}">
      <dsp:nvSpPr>
        <dsp:cNvPr id="0" name=""/>
        <dsp:cNvSpPr/>
      </dsp:nvSpPr>
      <dsp:spPr>
        <a:xfrm>
          <a:off x="2999297" y="2240006"/>
          <a:ext cx="761807" cy="47548"/>
        </a:xfrm>
        <a:custGeom>
          <a:avLst/>
          <a:gdLst/>
          <a:ahLst/>
          <a:cxnLst/>
          <a:rect l="0" t="0" r="0" b="0"/>
          <a:pathLst>
            <a:path>
              <a:moveTo>
                <a:pt x="0" y="23774"/>
              </a:moveTo>
              <a:lnTo>
                <a:pt x="761807" y="2377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208ABA-2A8B-0046-9CCD-784E5DE26956}">
      <dsp:nvSpPr>
        <dsp:cNvPr id="0" name=""/>
        <dsp:cNvSpPr/>
      </dsp:nvSpPr>
      <dsp:spPr>
        <a:xfrm rot="19037842">
          <a:off x="2908469" y="1305479"/>
          <a:ext cx="685188" cy="47548"/>
        </a:xfrm>
        <a:custGeom>
          <a:avLst/>
          <a:gdLst/>
          <a:ahLst/>
          <a:cxnLst/>
          <a:rect l="0" t="0" r="0" b="0"/>
          <a:pathLst>
            <a:path>
              <a:moveTo>
                <a:pt x="0" y="23774"/>
              </a:moveTo>
              <a:lnTo>
                <a:pt x="685188" y="23774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2A8FB3-A2CB-434E-AE22-C6B4CFEDE234}">
      <dsp:nvSpPr>
        <dsp:cNvPr id="0" name=""/>
        <dsp:cNvSpPr/>
      </dsp:nvSpPr>
      <dsp:spPr>
        <a:xfrm>
          <a:off x="1077160" y="1140911"/>
          <a:ext cx="2322520" cy="2245737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>
          <a:innerShdw blurRad="63500" dist="50800" dir="18900000">
            <a:prstClr val="black">
              <a:alpha val="50000"/>
            </a:prstClr>
          </a:innerShdw>
        </a:effectLst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D255C057-5BAE-3646-8CA3-B98EC3891E99}">
      <dsp:nvSpPr>
        <dsp:cNvPr id="0" name=""/>
        <dsp:cNvSpPr/>
      </dsp:nvSpPr>
      <dsp:spPr>
        <a:xfrm>
          <a:off x="3329927" y="2425"/>
          <a:ext cx="1304359" cy="1304359"/>
        </a:xfrm>
        <a:prstGeom prst="ellipse">
          <a:avLst/>
        </a:prstGeom>
        <a:solidFill>
          <a:schemeClr val="accent1">
            <a:shade val="80000"/>
            <a:hueOff val="191225"/>
            <a:satOff val="-16195"/>
            <a:lumOff val="1210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89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>
              <a:solidFill>
                <a:srgbClr val="595959"/>
              </a:solidFill>
            </a:rPr>
            <a:t>Technolo-gie</a:t>
          </a:r>
          <a:endParaRPr lang="en-US" sz="1600" b="1" kern="1200" dirty="0" smtClean="0">
            <a:solidFill>
              <a:srgbClr val="595959"/>
            </a:solidFill>
          </a:endParaRPr>
        </a:p>
      </dsp:txBody>
      <dsp:txXfrm>
        <a:off x="3520946" y="193444"/>
        <a:ext cx="922321" cy="922321"/>
      </dsp:txXfrm>
    </dsp:sp>
    <dsp:sp modelId="{7FE7E566-6CCA-0341-82F7-E4128D986666}">
      <dsp:nvSpPr>
        <dsp:cNvPr id="0" name=""/>
        <dsp:cNvSpPr/>
      </dsp:nvSpPr>
      <dsp:spPr>
        <a:xfrm>
          <a:off x="4764722" y="2425"/>
          <a:ext cx="1956539" cy="13043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err="1" smtClean="0"/>
            <a:t>Holistische</a:t>
          </a:r>
          <a:r>
            <a:rPr lang="en-US" sz="1050" kern="1200" dirty="0" smtClean="0"/>
            <a:t> </a:t>
          </a:r>
          <a:r>
            <a:rPr lang="en-US" sz="1050" kern="1200" dirty="0" err="1" smtClean="0"/>
            <a:t>analyse</a:t>
          </a:r>
          <a:r>
            <a:rPr lang="en-US" sz="1050" kern="1200" dirty="0" smtClean="0"/>
            <a:t> van de </a:t>
          </a:r>
          <a:r>
            <a:rPr lang="en-US" sz="1050" kern="1200" dirty="0" err="1" smtClean="0"/>
            <a:t>waardeketen</a:t>
          </a:r>
          <a:r>
            <a:rPr lang="en-US" sz="1050" kern="1200" dirty="0" smtClean="0"/>
            <a:t> – gap </a:t>
          </a:r>
          <a:r>
            <a:rPr lang="en-US" sz="1050" kern="1200" dirty="0" err="1" smtClean="0"/>
            <a:t>analyse</a:t>
          </a:r>
          <a:endParaRPr lang="en-US" sz="1050" kern="1200" dirty="0"/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err="1" smtClean="0"/>
            <a:t>Identificatie</a:t>
          </a:r>
          <a:r>
            <a:rPr lang="en-US" sz="1050" kern="1200" dirty="0" smtClean="0"/>
            <a:t> van </a:t>
          </a:r>
          <a:r>
            <a:rPr lang="en-US" sz="1050" kern="1200" dirty="0" err="1" smtClean="0"/>
            <a:t>variabiliteit</a:t>
          </a:r>
          <a:r>
            <a:rPr lang="en-US" sz="1050" kern="1200" dirty="0" smtClean="0"/>
            <a:t>, </a:t>
          </a:r>
          <a:r>
            <a:rPr lang="en-US" sz="1050" kern="1200" dirty="0" err="1" smtClean="0"/>
            <a:t>verliezen</a:t>
          </a:r>
          <a:r>
            <a:rPr lang="en-US" sz="1050" kern="1200" dirty="0" smtClean="0"/>
            <a:t> en de </a:t>
          </a:r>
          <a:r>
            <a:rPr lang="en-US" sz="1050" kern="1200" dirty="0" err="1" smtClean="0"/>
            <a:t>oorzaken</a:t>
          </a:r>
          <a:r>
            <a:rPr lang="en-US" sz="1050" kern="1200" dirty="0" smtClean="0"/>
            <a:t> (root causes)</a:t>
          </a:r>
          <a:endParaRPr lang="en-US" sz="1050" kern="1200" dirty="0"/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050" kern="1200" dirty="0" err="1" smtClean="0"/>
            <a:t>Implementatie</a:t>
          </a:r>
          <a:r>
            <a:rPr lang="en-US" sz="1050" kern="1200" dirty="0" smtClean="0"/>
            <a:t> van  </a:t>
          </a:r>
          <a:r>
            <a:rPr lang="en-US" sz="1050" kern="1200" dirty="0" err="1" smtClean="0"/>
            <a:t>beslissingsondersteunende</a:t>
          </a:r>
          <a:r>
            <a:rPr lang="en-US" sz="1050" kern="1200" dirty="0" smtClean="0"/>
            <a:t> tools  </a:t>
          </a:r>
          <a:r>
            <a:rPr lang="en-US" sz="1050" kern="1200" dirty="0" err="1" smtClean="0"/>
            <a:t>voor</a:t>
          </a:r>
          <a:r>
            <a:rPr lang="en-US" sz="1050" kern="1200" dirty="0" smtClean="0"/>
            <a:t> </a:t>
          </a:r>
          <a:r>
            <a:rPr lang="en-US" sz="1050" kern="1200" dirty="0" err="1" smtClean="0"/>
            <a:t>reductie</a:t>
          </a:r>
          <a:r>
            <a:rPr lang="en-US" sz="1050" kern="1200" dirty="0" smtClean="0"/>
            <a:t> van </a:t>
          </a:r>
          <a:r>
            <a:rPr lang="en-US" sz="1050" kern="1200" dirty="0" err="1" smtClean="0"/>
            <a:t>variabiliteit</a:t>
          </a:r>
          <a:endParaRPr lang="en-US" sz="1050" kern="1200" dirty="0"/>
        </a:p>
      </dsp:txBody>
      <dsp:txXfrm>
        <a:off x="4764722" y="2425"/>
        <a:ext cx="1956539" cy="1304359"/>
      </dsp:txXfrm>
    </dsp:sp>
    <dsp:sp modelId="{C3C3603F-5207-AF4C-868C-553F79756188}">
      <dsp:nvSpPr>
        <dsp:cNvPr id="0" name=""/>
        <dsp:cNvSpPr/>
      </dsp:nvSpPr>
      <dsp:spPr>
        <a:xfrm>
          <a:off x="3761104" y="1611600"/>
          <a:ext cx="1304359" cy="1304359"/>
        </a:xfrm>
        <a:prstGeom prst="ellipse">
          <a:avLst/>
        </a:prstGeom>
        <a:solidFill>
          <a:schemeClr val="accent1">
            <a:shade val="80000"/>
            <a:hueOff val="382449"/>
            <a:satOff val="-32389"/>
            <a:lumOff val="2420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89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rgbClr val="595959"/>
              </a:solidFill>
            </a:rPr>
            <a:t>Manage-</a:t>
          </a:r>
          <a:r>
            <a:rPr lang="en-US" sz="1600" b="1" kern="1200" dirty="0" err="1" smtClean="0">
              <a:solidFill>
                <a:srgbClr val="595959"/>
              </a:solidFill>
            </a:rPr>
            <a:t>ment</a:t>
          </a:r>
          <a:endParaRPr lang="en-US" sz="1400" b="1" kern="1200" dirty="0" smtClean="0">
            <a:solidFill>
              <a:srgbClr val="595959"/>
            </a:solidFill>
          </a:endParaRPr>
        </a:p>
      </dsp:txBody>
      <dsp:txXfrm>
        <a:off x="3952123" y="1802619"/>
        <a:ext cx="922321" cy="922321"/>
      </dsp:txXfrm>
    </dsp:sp>
    <dsp:sp modelId="{EB8C9257-6776-ED41-B9D9-B9DBE6675D58}">
      <dsp:nvSpPr>
        <dsp:cNvPr id="0" name=""/>
        <dsp:cNvSpPr/>
      </dsp:nvSpPr>
      <dsp:spPr>
        <a:xfrm>
          <a:off x="5195900" y="1611600"/>
          <a:ext cx="1956539" cy="13043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err="1" smtClean="0"/>
            <a:t>Ontwikkeling</a:t>
          </a:r>
          <a:r>
            <a:rPr lang="en-US" sz="1200" kern="1200" dirty="0" smtClean="0"/>
            <a:t> van </a:t>
          </a:r>
          <a:r>
            <a:rPr lang="en-US" sz="1200" kern="1200" dirty="0" err="1" smtClean="0"/>
            <a:t>een</a:t>
          </a:r>
          <a:r>
            <a:rPr lang="en-US" sz="1200" kern="1200" dirty="0" smtClean="0"/>
            <a:t> KPI-</a:t>
          </a:r>
          <a:r>
            <a:rPr lang="en-US" sz="1200" kern="1200" dirty="0" err="1" smtClean="0"/>
            <a:t>structuur</a:t>
          </a:r>
          <a:r>
            <a:rPr lang="en-US" sz="1200" kern="1200" dirty="0" smtClean="0"/>
            <a:t>, </a:t>
          </a:r>
          <a:r>
            <a:rPr lang="en-US" sz="1200" kern="1200" dirty="0" err="1" smtClean="0"/>
            <a:t>rekening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houdend</a:t>
          </a:r>
          <a:r>
            <a:rPr lang="en-US" sz="1200" kern="1200" dirty="0" smtClean="0"/>
            <a:t> met de </a:t>
          </a:r>
          <a:r>
            <a:rPr lang="en-US" sz="1200" kern="1200" dirty="0" err="1" smtClean="0"/>
            <a:t>energiedrivers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Accountability: </a:t>
          </a:r>
          <a:r>
            <a:rPr lang="en-US" sz="1200" kern="1200" dirty="0" err="1" smtClean="0"/>
            <a:t>Aangepast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rechten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en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verantwoordelijk-heden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bij</a:t>
          </a:r>
          <a:r>
            <a:rPr lang="en-US" sz="1200" kern="1200" dirty="0" smtClean="0"/>
            <a:t> de </a:t>
          </a:r>
          <a:r>
            <a:rPr lang="en-US" sz="1200" kern="1200" dirty="0" err="1" smtClean="0"/>
            <a:t>juiste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mensen</a:t>
          </a:r>
          <a:endParaRPr lang="en-US" sz="1200" kern="1200" dirty="0"/>
        </a:p>
      </dsp:txBody>
      <dsp:txXfrm>
        <a:off x="5195900" y="1611600"/>
        <a:ext cx="1956539" cy="1304359"/>
      </dsp:txXfrm>
    </dsp:sp>
    <dsp:sp modelId="{525383A6-AAC1-8F45-84B7-64366D0E361C}">
      <dsp:nvSpPr>
        <dsp:cNvPr id="0" name=""/>
        <dsp:cNvSpPr/>
      </dsp:nvSpPr>
      <dsp:spPr>
        <a:xfrm>
          <a:off x="3291183" y="3222374"/>
          <a:ext cx="1411303" cy="1301163"/>
        </a:xfrm>
        <a:prstGeom prst="ellipse">
          <a:avLst/>
        </a:prstGeom>
        <a:solidFill>
          <a:schemeClr val="accent1">
            <a:shade val="80000"/>
            <a:hueOff val="573674"/>
            <a:satOff val="-48584"/>
            <a:lumOff val="363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innerShdw blurRad="63500" dist="50800" dir="189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rgbClr val="595959"/>
              </a:solidFill>
            </a:rPr>
            <a:t>Mindset </a:t>
          </a:r>
          <a:r>
            <a:rPr lang="en-US" sz="1600" b="1" kern="1200" dirty="0" err="1" smtClean="0">
              <a:solidFill>
                <a:srgbClr val="595959"/>
              </a:solidFill>
            </a:rPr>
            <a:t>en</a:t>
          </a:r>
          <a:r>
            <a:rPr lang="en-US" sz="1600" b="1" kern="1200" dirty="0" smtClean="0">
              <a:solidFill>
                <a:srgbClr val="595959"/>
              </a:solidFill>
            </a:rPr>
            <a:t> </a:t>
          </a:r>
          <a:r>
            <a:rPr lang="en-US" sz="1600" b="1" kern="1200" dirty="0" err="1" smtClean="0">
              <a:solidFill>
                <a:srgbClr val="595959"/>
              </a:solidFill>
            </a:rPr>
            <a:t>vaardig-heden</a:t>
          </a:r>
          <a:endParaRPr lang="en-US" sz="1600" b="1" kern="1200" dirty="0" smtClean="0">
            <a:solidFill>
              <a:srgbClr val="595959"/>
            </a:solidFill>
          </a:endParaRPr>
        </a:p>
      </dsp:txBody>
      <dsp:txXfrm>
        <a:off x="3497864" y="3412925"/>
        <a:ext cx="997941" cy="920061"/>
      </dsp:txXfrm>
    </dsp:sp>
    <dsp:sp modelId="{1CA5CD01-CEE2-C44A-8A18-CAA0D1F76B7E}">
      <dsp:nvSpPr>
        <dsp:cNvPr id="0" name=""/>
        <dsp:cNvSpPr/>
      </dsp:nvSpPr>
      <dsp:spPr>
        <a:xfrm>
          <a:off x="4699242" y="3222374"/>
          <a:ext cx="2116955" cy="13011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 Top down </a:t>
          </a:r>
          <a:r>
            <a:rPr lang="en-US" sz="1200" kern="1200" dirty="0" err="1" smtClean="0"/>
            <a:t>beslissingen</a:t>
          </a:r>
          <a:r>
            <a:rPr lang="en-US" sz="1200" kern="1200" dirty="0" smtClean="0"/>
            <a:t>, bottom-up </a:t>
          </a:r>
          <a:r>
            <a:rPr lang="en-US" sz="1200" kern="1200" dirty="0" err="1" smtClean="0"/>
            <a:t>implementatie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err="1" smtClean="0"/>
            <a:t>Engageren</a:t>
          </a:r>
          <a:r>
            <a:rPr lang="en-US" sz="1200" kern="1200" dirty="0" smtClean="0"/>
            <a:t> van </a:t>
          </a:r>
          <a:r>
            <a:rPr lang="en-US" sz="1200" kern="1200" dirty="0" err="1" smtClean="0"/>
            <a:t>mensen</a:t>
          </a:r>
          <a:r>
            <a:rPr lang="en-US" sz="1200" kern="1200" dirty="0" smtClean="0"/>
            <a:t> op elk </a:t>
          </a:r>
          <a:r>
            <a:rPr lang="en-US" sz="1200" kern="1200" dirty="0" err="1" smtClean="0"/>
            <a:t>niveau</a:t>
          </a:r>
          <a:r>
            <a:rPr lang="en-US" sz="1200" kern="1200" dirty="0" smtClean="0"/>
            <a:t> van de </a:t>
          </a:r>
          <a:r>
            <a:rPr lang="en-US" sz="1200" kern="1200" dirty="0" err="1" smtClean="0"/>
            <a:t>organisatie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 smtClean="0"/>
            <a:t>Training </a:t>
          </a:r>
          <a:r>
            <a:rPr lang="en-US" sz="1200" kern="1200" dirty="0" err="1" smtClean="0"/>
            <a:t>en</a:t>
          </a:r>
          <a:r>
            <a:rPr lang="en-US" sz="1200" kern="1200" dirty="0" smtClean="0"/>
            <a:t> </a:t>
          </a:r>
          <a:r>
            <a:rPr lang="en-US" sz="1200" kern="1200" dirty="0" err="1" smtClean="0"/>
            <a:t>cultuurverandering</a:t>
          </a:r>
          <a:endParaRPr lang="en-US" sz="1200" kern="1200" dirty="0"/>
        </a:p>
      </dsp:txBody>
      <dsp:txXfrm>
        <a:off x="4699242" y="3222374"/>
        <a:ext cx="2116955" cy="13011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0" y="0"/>
          <a:ext cx="7736262" cy="603519"/>
        </a:xfrm>
        <a:prstGeom prst="homePlate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CA" sz="24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0"/>
        <a:ext cx="7585382" cy="60351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0" y="222727"/>
          <a:ext cx="1550564" cy="620225"/>
        </a:xfrm>
        <a:prstGeom prst="homePlate">
          <a:avLst/>
        </a:prstGeom>
        <a:solidFill>
          <a:srgbClr val="7CC93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 noProof="0" dirty="0" smtClean="0"/>
            <a:t>Gap </a:t>
          </a:r>
          <a:r>
            <a:rPr lang="en-GB" sz="1200" b="1" kern="1200" noProof="0" dirty="0" err="1" smtClean="0"/>
            <a:t>identificatie</a:t>
          </a:r>
          <a:endParaRPr lang="en-GB" sz="1200" b="1" kern="1200" noProof="0" dirty="0"/>
        </a:p>
      </dsp:txBody>
      <dsp:txXfrm>
        <a:off x="0" y="222727"/>
        <a:ext cx="1395508" cy="620225"/>
      </dsp:txXfrm>
    </dsp:sp>
    <dsp:sp modelId="{5EF59913-DB1A-4C1B-9E88-C21503965DF7}">
      <dsp:nvSpPr>
        <dsp:cNvPr id="0" name=""/>
        <dsp:cNvSpPr/>
      </dsp:nvSpPr>
      <dsp:spPr>
        <a:xfrm>
          <a:off x="1241398" y="208344"/>
          <a:ext cx="1550564" cy="620225"/>
        </a:xfrm>
        <a:prstGeom prst="chevron">
          <a:avLst/>
        </a:prstGeom>
        <a:solidFill>
          <a:srgbClr val="7CC93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 noProof="0" dirty="0" err="1" smtClean="0"/>
            <a:t>Diagnostiek</a:t>
          </a:r>
          <a:endParaRPr lang="en-GB" sz="1200" b="1" kern="1200" noProof="0" dirty="0"/>
        </a:p>
      </dsp:txBody>
      <dsp:txXfrm>
        <a:off x="1551511" y="208344"/>
        <a:ext cx="930339" cy="620225"/>
      </dsp:txXfrm>
    </dsp:sp>
    <dsp:sp modelId="{DE04C892-9986-4C11-8E82-93F285815BAD}">
      <dsp:nvSpPr>
        <dsp:cNvPr id="0" name=""/>
        <dsp:cNvSpPr/>
      </dsp:nvSpPr>
      <dsp:spPr>
        <a:xfrm>
          <a:off x="2481850" y="208344"/>
          <a:ext cx="1550564" cy="620225"/>
        </a:xfrm>
        <a:prstGeom prst="chevron">
          <a:avLst/>
        </a:prstGeom>
        <a:solidFill>
          <a:srgbClr val="7CC93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 noProof="0" dirty="0" err="1" smtClean="0"/>
            <a:t>Modellering</a:t>
          </a:r>
          <a:endParaRPr lang="en-GB" sz="1200" b="1" kern="1200" noProof="0" dirty="0"/>
        </a:p>
      </dsp:txBody>
      <dsp:txXfrm>
        <a:off x="2791963" y="208344"/>
        <a:ext cx="930339" cy="620225"/>
      </dsp:txXfrm>
    </dsp:sp>
    <dsp:sp modelId="{5DBBB54C-4C5C-422F-BE37-71270213C408}">
      <dsp:nvSpPr>
        <dsp:cNvPr id="0" name=""/>
        <dsp:cNvSpPr/>
      </dsp:nvSpPr>
      <dsp:spPr>
        <a:xfrm>
          <a:off x="3722302" y="208344"/>
          <a:ext cx="1550564" cy="620225"/>
        </a:xfrm>
        <a:prstGeom prst="chevron">
          <a:avLst/>
        </a:prstGeom>
        <a:solidFill>
          <a:srgbClr val="7CC93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 noProof="0" dirty="0" err="1" smtClean="0"/>
            <a:t>Implemen-tatie</a:t>
          </a:r>
          <a:endParaRPr lang="en-GB" sz="1200" b="1" kern="1200" noProof="0" dirty="0"/>
        </a:p>
      </dsp:txBody>
      <dsp:txXfrm>
        <a:off x="4032415" y="208344"/>
        <a:ext cx="930339" cy="620225"/>
      </dsp:txXfrm>
    </dsp:sp>
    <dsp:sp modelId="{557A5E4A-F1F5-4749-B988-E763089FCFBE}">
      <dsp:nvSpPr>
        <dsp:cNvPr id="0" name=""/>
        <dsp:cNvSpPr/>
      </dsp:nvSpPr>
      <dsp:spPr>
        <a:xfrm>
          <a:off x="4962754" y="208344"/>
          <a:ext cx="1550564" cy="620225"/>
        </a:xfrm>
        <a:prstGeom prst="chevron">
          <a:avLst/>
        </a:prstGeom>
        <a:solidFill>
          <a:srgbClr val="7CC93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 noProof="0" smtClean="0"/>
            <a:t>Training</a:t>
          </a:r>
          <a:endParaRPr lang="en-GB" sz="1200" b="1" kern="1200" noProof="0"/>
        </a:p>
      </dsp:txBody>
      <dsp:txXfrm>
        <a:off x="5272867" y="208344"/>
        <a:ext cx="930339" cy="620225"/>
      </dsp:txXfrm>
    </dsp:sp>
    <dsp:sp modelId="{3A2948AC-8449-4A60-A4DA-3C870472F676}">
      <dsp:nvSpPr>
        <dsp:cNvPr id="0" name=""/>
        <dsp:cNvSpPr/>
      </dsp:nvSpPr>
      <dsp:spPr>
        <a:xfrm>
          <a:off x="6203206" y="208344"/>
          <a:ext cx="1550564" cy="620225"/>
        </a:xfrm>
        <a:prstGeom prst="chevron">
          <a:avLst/>
        </a:prstGeom>
        <a:solidFill>
          <a:srgbClr val="7CC93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32004" rIns="16002" bIns="3200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 noProof="0" dirty="0" err="1" smtClean="0"/>
            <a:t>Opvolging</a:t>
          </a:r>
          <a:endParaRPr lang="en-GB" sz="1200" b="1" kern="1200" noProof="0" dirty="0"/>
        </a:p>
      </dsp:txBody>
      <dsp:txXfrm>
        <a:off x="6513319" y="208344"/>
        <a:ext cx="930339" cy="62022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1" y="0"/>
          <a:ext cx="4613020" cy="626380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57150" cmpd="sng">
          <a:solidFill>
            <a:srgbClr val="7EB606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6022" tIns="88011" rIns="44006" bIns="88011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CA" sz="3300" b="1" kern="1200" dirty="0">
            <a:ln>
              <a:solidFill>
                <a:schemeClr val="accent5"/>
              </a:solidFill>
            </a:ln>
            <a:solidFill>
              <a:schemeClr val="tx1"/>
            </a:solidFill>
          </a:endParaRPr>
        </a:p>
      </dsp:txBody>
      <dsp:txXfrm>
        <a:off x="1" y="0"/>
        <a:ext cx="4456425" cy="626380"/>
      </dsp:txXfrm>
    </dsp:sp>
    <dsp:sp modelId="{3A2948AC-8449-4A60-A4DA-3C870472F676}">
      <dsp:nvSpPr>
        <dsp:cNvPr id="0" name=""/>
        <dsp:cNvSpPr/>
      </dsp:nvSpPr>
      <dsp:spPr>
        <a:xfrm>
          <a:off x="3694146" y="0"/>
          <a:ext cx="4049678" cy="626380"/>
        </a:xfrm>
        <a:prstGeom prst="chevr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57150" cmpd="sng">
          <a:solidFill>
            <a:srgbClr val="7EB606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b="1" kern="1200" noProof="0" dirty="0" err="1" smtClean="0">
              <a:latin typeface="Arial" panose="020B0604020202020204" pitchFamily="34" charset="0"/>
              <a:cs typeface="Arial" panose="020B0604020202020204" pitchFamily="34" charset="0"/>
            </a:rPr>
            <a:t>Bestaande</a:t>
          </a:r>
          <a:r>
            <a:rPr lang="en-GB" sz="1600" b="1" kern="1200" noProof="0" dirty="0" smtClean="0">
              <a:latin typeface="Arial" panose="020B0604020202020204" pitchFamily="34" charset="0"/>
              <a:cs typeface="Arial" panose="020B0604020202020204" pitchFamily="34" charset="0"/>
            </a:rPr>
            <a:t> IT-</a:t>
          </a:r>
          <a:r>
            <a:rPr lang="en-GB" sz="1600" b="1" kern="1200" noProof="0" dirty="0" err="1" smtClean="0">
              <a:latin typeface="Arial" panose="020B0604020202020204" pitchFamily="34" charset="0"/>
              <a:cs typeface="Arial" panose="020B0604020202020204" pitchFamily="34" charset="0"/>
            </a:rPr>
            <a:t>systemen</a:t>
          </a:r>
          <a:endParaRPr lang="en-GB" sz="1600" b="1" kern="1200" noProof="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007336" y="0"/>
        <a:ext cx="3423298" cy="62638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1588" y="197659"/>
          <a:ext cx="1647383" cy="658953"/>
        </a:xfrm>
        <a:prstGeom prst="homePlate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1588" y="197659"/>
        <a:ext cx="1482645" cy="658953"/>
      </dsp:txXfrm>
    </dsp:sp>
    <dsp:sp modelId="{5EF59913-DB1A-4C1B-9E88-C21503965DF7}">
      <dsp:nvSpPr>
        <dsp:cNvPr id="0" name=""/>
        <dsp:cNvSpPr/>
      </dsp:nvSpPr>
      <dsp:spPr>
        <a:xfrm>
          <a:off x="1320499" y="182378"/>
          <a:ext cx="164738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49976" y="182378"/>
        <a:ext cx="988430" cy="658953"/>
      </dsp:txXfrm>
    </dsp:sp>
    <dsp:sp modelId="{DE04C892-9986-4C11-8E82-93F285815BAD}">
      <dsp:nvSpPr>
        <dsp:cNvPr id="0" name=""/>
        <dsp:cNvSpPr/>
      </dsp:nvSpPr>
      <dsp:spPr>
        <a:xfrm>
          <a:off x="2638406" y="182378"/>
          <a:ext cx="164738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67883" y="182378"/>
        <a:ext cx="988430" cy="658953"/>
      </dsp:txXfrm>
    </dsp:sp>
    <dsp:sp modelId="{5DBBB54C-4C5C-422F-BE37-71270213C408}">
      <dsp:nvSpPr>
        <dsp:cNvPr id="0" name=""/>
        <dsp:cNvSpPr/>
      </dsp:nvSpPr>
      <dsp:spPr>
        <a:xfrm>
          <a:off x="3956312" y="182378"/>
          <a:ext cx="182935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285789" y="182378"/>
        <a:ext cx="1170400" cy="658953"/>
      </dsp:txXfrm>
    </dsp:sp>
    <dsp:sp modelId="{557A5E4A-F1F5-4749-B988-E763089FCFBE}">
      <dsp:nvSpPr>
        <dsp:cNvPr id="0" name=""/>
        <dsp:cNvSpPr/>
      </dsp:nvSpPr>
      <dsp:spPr>
        <a:xfrm>
          <a:off x="5456189" y="182378"/>
          <a:ext cx="164738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785666" y="182378"/>
        <a:ext cx="988430" cy="658953"/>
      </dsp:txXfrm>
    </dsp:sp>
    <dsp:sp modelId="{3A2948AC-8449-4A60-A4DA-3C870472F676}">
      <dsp:nvSpPr>
        <dsp:cNvPr id="0" name=""/>
        <dsp:cNvSpPr/>
      </dsp:nvSpPr>
      <dsp:spPr>
        <a:xfrm>
          <a:off x="6774095" y="182378"/>
          <a:ext cx="164738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03572" y="182378"/>
        <a:ext cx="988430" cy="65895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1588" y="197659"/>
          <a:ext cx="1647383" cy="658953"/>
        </a:xfrm>
        <a:prstGeom prst="homePlate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1588" y="197659"/>
        <a:ext cx="1482645" cy="658953"/>
      </dsp:txXfrm>
    </dsp:sp>
    <dsp:sp modelId="{5EF59913-DB1A-4C1B-9E88-C21503965DF7}">
      <dsp:nvSpPr>
        <dsp:cNvPr id="0" name=""/>
        <dsp:cNvSpPr/>
      </dsp:nvSpPr>
      <dsp:spPr>
        <a:xfrm>
          <a:off x="1320499" y="182378"/>
          <a:ext cx="164738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49976" y="182378"/>
        <a:ext cx="988430" cy="658953"/>
      </dsp:txXfrm>
    </dsp:sp>
    <dsp:sp modelId="{DE04C892-9986-4C11-8E82-93F285815BAD}">
      <dsp:nvSpPr>
        <dsp:cNvPr id="0" name=""/>
        <dsp:cNvSpPr/>
      </dsp:nvSpPr>
      <dsp:spPr>
        <a:xfrm>
          <a:off x="2638406" y="182378"/>
          <a:ext cx="164738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67883" y="182378"/>
        <a:ext cx="988430" cy="658953"/>
      </dsp:txXfrm>
    </dsp:sp>
    <dsp:sp modelId="{5DBBB54C-4C5C-422F-BE37-71270213C408}">
      <dsp:nvSpPr>
        <dsp:cNvPr id="0" name=""/>
        <dsp:cNvSpPr/>
      </dsp:nvSpPr>
      <dsp:spPr>
        <a:xfrm>
          <a:off x="3956312" y="182378"/>
          <a:ext cx="182935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285789" y="182378"/>
        <a:ext cx="1170400" cy="658953"/>
      </dsp:txXfrm>
    </dsp:sp>
    <dsp:sp modelId="{557A5E4A-F1F5-4749-B988-E763089FCFBE}">
      <dsp:nvSpPr>
        <dsp:cNvPr id="0" name=""/>
        <dsp:cNvSpPr/>
      </dsp:nvSpPr>
      <dsp:spPr>
        <a:xfrm>
          <a:off x="5456189" y="182378"/>
          <a:ext cx="164738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785666" y="182378"/>
        <a:ext cx="988430" cy="658953"/>
      </dsp:txXfrm>
    </dsp:sp>
    <dsp:sp modelId="{3A2948AC-8449-4A60-A4DA-3C870472F676}">
      <dsp:nvSpPr>
        <dsp:cNvPr id="0" name=""/>
        <dsp:cNvSpPr/>
      </dsp:nvSpPr>
      <dsp:spPr>
        <a:xfrm>
          <a:off x="6774095" y="182378"/>
          <a:ext cx="1647383" cy="658953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03572" y="182378"/>
        <a:ext cx="988430" cy="65895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7CC49-5030-4FFF-81A9-4EFA003F6B4E}">
      <dsp:nvSpPr>
        <dsp:cNvPr id="0" name=""/>
        <dsp:cNvSpPr/>
      </dsp:nvSpPr>
      <dsp:spPr>
        <a:xfrm>
          <a:off x="1820" y="200405"/>
          <a:ext cx="1632986" cy="653194"/>
        </a:xfrm>
        <a:prstGeom prst="homePlate">
          <a:avLst/>
        </a:prstGeom>
        <a:solidFill>
          <a:srgbClr val="A6A6A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Gap </a:t>
          </a:r>
          <a:r>
            <a:rPr lang="en-GB" sz="1400" b="1" kern="1200" noProof="0" dirty="0" err="1" smtClean="0"/>
            <a:t>identificatie</a:t>
          </a:r>
          <a:endParaRPr lang="en-GB" sz="1400" b="1" kern="1200" noProof="0" dirty="0"/>
        </a:p>
      </dsp:txBody>
      <dsp:txXfrm>
        <a:off x="1820" y="200405"/>
        <a:ext cx="1469688" cy="653194"/>
      </dsp:txXfrm>
    </dsp:sp>
    <dsp:sp modelId="{5EF59913-DB1A-4C1B-9E88-C21503965DF7}">
      <dsp:nvSpPr>
        <dsp:cNvPr id="0" name=""/>
        <dsp:cNvSpPr/>
      </dsp:nvSpPr>
      <dsp:spPr>
        <a:xfrm>
          <a:off x="1309206" y="185257"/>
          <a:ext cx="1632986" cy="653194"/>
        </a:xfrm>
        <a:prstGeom prst="chevron">
          <a:avLst/>
        </a:prstGeom>
        <a:solidFill>
          <a:srgbClr val="8EC02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Diagnose</a:t>
          </a:r>
          <a:endParaRPr lang="en-GB" sz="1400" b="1" kern="1200" noProof="0" dirty="0"/>
        </a:p>
      </dsp:txBody>
      <dsp:txXfrm>
        <a:off x="1635803" y="185257"/>
        <a:ext cx="979792" cy="653194"/>
      </dsp:txXfrm>
    </dsp:sp>
    <dsp:sp modelId="{DE04C892-9986-4C11-8E82-93F285815BAD}">
      <dsp:nvSpPr>
        <dsp:cNvPr id="0" name=""/>
        <dsp:cNvSpPr/>
      </dsp:nvSpPr>
      <dsp:spPr>
        <a:xfrm>
          <a:off x="2615595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Model-</a:t>
          </a:r>
          <a:r>
            <a:rPr lang="en-GB" sz="1400" b="1" kern="1200" noProof="0" dirty="0" err="1" smtClean="0"/>
            <a:t>lering</a:t>
          </a:r>
          <a:endParaRPr lang="en-GB" sz="1400" b="1" kern="1200" noProof="0" dirty="0"/>
        </a:p>
      </dsp:txBody>
      <dsp:txXfrm>
        <a:off x="2942192" y="185257"/>
        <a:ext cx="979792" cy="653194"/>
      </dsp:txXfrm>
    </dsp:sp>
    <dsp:sp modelId="{5DBBB54C-4C5C-422F-BE37-71270213C408}">
      <dsp:nvSpPr>
        <dsp:cNvPr id="0" name=""/>
        <dsp:cNvSpPr/>
      </dsp:nvSpPr>
      <dsp:spPr>
        <a:xfrm>
          <a:off x="3921984" y="185257"/>
          <a:ext cx="1886491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Implemen</a:t>
          </a:r>
          <a:r>
            <a:rPr lang="en-GB" sz="1400" b="1" kern="1200" noProof="0" dirty="0" smtClean="0"/>
            <a:t>-tatie</a:t>
          </a:r>
          <a:endParaRPr lang="en-GB" sz="1400" b="1" kern="1200" noProof="0" dirty="0"/>
        </a:p>
      </dsp:txBody>
      <dsp:txXfrm>
        <a:off x="4248581" y="185257"/>
        <a:ext cx="1233297" cy="653194"/>
      </dsp:txXfrm>
    </dsp:sp>
    <dsp:sp modelId="{557A5E4A-F1F5-4749-B988-E763089FCFBE}">
      <dsp:nvSpPr>
        <dsp:cNvPr id="0" name=""/>
        <dsp:cNvSpPr/>
      </dsp:nvSpPr>
      <dsp:spPr>
        <a:xfrm>
          <a:off x="5481879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smtClean="0"/>
            <a:t>Training</a:t>
          </a:r>
          <a:endParaRPr lang="en-GB" sz="1400" b="1" kern="1200" noProof="0"/>
        </a:p>
      </dsp:txBody>
      <dsp:txXfrm>
        <a:off x="5808476" y="185257"/>
        <a:ext cx="979792" cy="653194"/>
      </dsp:txXfrm>
    </dsp:sp>
    <dsp:sp modelId="{3A2948AC-8449-4A60-A4DA-3C870472F676}">
      <dsp:nvSpPr>
        <dsp:cNvPr id="0" name=""/>
        <dsp:cNvSpPr/>
      </dsp:nvSpPr>
      <dsp:spPr>
        <a:xfrm>
          <a:off x="6788268" y="185257"/>
          <a:ext cx="1632986" cy="653194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err="1" smtClean="0"/>
            <a:t>Opvolging</a:t>
          </a:r>
          <a:endParaRPr lang="en-GB" sz="1400" b="1" kern="1200" noProof="0" dirty="0"/>
        </a:p>
      </dsp:txBody>
      <dsp:txXfrm>
        <a:off x="7114865" y="185257"/>
        <a:ext cx="979792" cy="65319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2E4D57-093A-0A47-B03B-45E9CEEDEC2D}">
      <dsp:nvSpPr>
        <dsp:cNvPr id="0" name=""/>
        <dsp:cNvSpPr/>
      </dsp:nvSpPr>
      <dsp:spPr>
        <a:xfrm>
          <a:off x="1078254" y="2702985"/>
          <a:ext cx="1016021" cy="50801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Stoomextractie</a:t>
          </a:r>
          <a:r>
            <a:rPr lang="en-US" sz="1000" kern="1200" noProof="0" dirty="0" smtClean="0"/>
            <a:t>  &lt; maximum</a:t>
          </a:r>
          <a:endParaRPr lang="en-US" sz="1000" kern="1200" noProof="0" dirty="0"/>
        </a:p>
      </dsp:txBody>
      <dsp:txXfrm>
        <a:off x="1093133" y="2717864"/>
        <a:ext cx="986263" cy="478252"/>
      </dsp:txXfrm>
    </dsp:sp>
    <dsp:sp modelId="{076B98FC-4A11-6A48-83E7-07F676B4B637}">
      <dsp:nvSpPr>
        <dsp:cNvPr id="0" name=""/>
        <dsp:cNvSpPr/>
      </dsp:nvSpPr>
      <dsp:spPr>
        <a:xfrm rot="16898799">
          <a:off x="1290897" y="1962782"/>
          <a:ext cx="2013166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2013166" y="8349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noProof="0"/>
        </a:p>
      </dsp:txBody>
      <dsp:txXfrm>
        <a:off x="2247151" y="1920803"/>
        <a:ext cx="100658" cy="100658"/>
      </dsp:txXfrm>
    </dsp:sp>
    <dsp:sp modelId="{5C429747-D676-484F-A34D-6B310DD3BAE0}">
      <dsp:nvSpPr>
        <dsp:cNvPr id="0" name=""/>
        <dsp:cNvSpPr/>
      </dsp:nvSpPr>
      <dsp:spPr>
        <a:xfrm>
          <a:off x="2500684" y="731268"/>
          <a:ext cx="1016021" cy="508010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Capacitiet</a:t>
          </a:r>
          <a:r>
            <a:rPr lang="en-US" sz="1000" kern="1200" noProof="0" dirty="0" smtClean="0"/>
            <a:t> van </a:t>
          </a:r>
          <a:r>
            <a:rPr lang="en-US" sz="1000" kern="1200" noProof="0" dirty="0" err="1" smtClean="0"/>
            <a:t>stoomextractie</a:t>
          </a:r>
          <a:endParaRPr lang="en-US" sz="1000" kern="1200" noProof="0" dirty="0"/>
        </a:p>
      </dsp:txBody>
      <dsp:txXfrm>
        <a:off x="2515563" y="746147"/>
        <a:ext cx="986263" cy="478252"/>
      </dsp:txXfrm>
    </dsp:sp>
    <dsp:sp modelId="{4B6CDFBC-58B1-B94B-BABC-6B8D93330D2A}">
      <dsp:nvSpPr>
        <dsp:cNvPr id="0" name=""/>
        <dsp:cNvSpPr/>
      </dsp:nvSpPr>
      <dsp:spPr>
        <a:xfrm rot="17945813">
          <a:off x="3302042" y="611791"/>
          <a:ext cx="835736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835736" y="834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3699017" y="599247"/>
        <a:ext cx="41786" cy="41786"/>
      </dsp:txXfrm>
    </dsp:sp>
    <dsp:sp modelId="{8AF79623-827D-9D45-82D7-68974DD55CF5}">
      <dsp:nvSpPr>
        <dsp:cNvPr id="0" name=""/>
        <dsp:cNvSpPr/>
      </dsp:nvSpPr>
      <dsp:spPr>
        <a:xfrm>
          <a:off x="3923115" y="1002"/>
          <a:ext cx="1016021" cy="508010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Stoomextractie</a:t>
          </a:r>
          <a:r>
            <a:rPr lang="en-US" sz="1000" kern="1200" noProof="0" dirty="0" smtClean="0"/>
            <a:t> </a:t>
          </a:r>
          <a:r>
            <a:rPr lang="en-US" sz="1000" kern="1200" noProof="0" dirty="0" err="1" smtClean="0"/>
            <a:t>ligt</a:t>
          </a:r>
          <a:r>
            <a:rPr lang="en-US" sz="1000" kern="1200" noProof="0" dirty="0" smtClean="0"/>
            <a:t> </a:t>
          </a:r>
          <a:r>
            <a:rPr lang="en-US" sz="1000" kern="1200" noProof="0" dirty="0" err="1" smtClean="0"/>
            <a:t>stil</a:t>
          </a:r>
          <a:endParaRPr lang="en-US" sz="1000" kern="1200" noProof="0" dirty="0"/>
        </a:p>
      </dsp:txBody>
      <dsp:txXfrm>
        <a:off x="3937994" y="15881"/>
        <a:ext cx="986263" cy="478252"/>
      </dsp:txXfrm>
    </dsp:sp>
    <dsp:sp modelId="{3B76758E-201F-784A-9A07-9FBA699BC302}">
      <dsp:nvSpPr>
        <dsp:cNvPr id="0" name=""/>
        <dsp:cNvSpPr/>
      </dsp:nvSpPr>
      <dsp:spPr>
        <a:xfrm>
          <a:off x="4939137" y="246658"/>
          <a:ext cx="406408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406408" y="8349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5132181" y="244847"/>
        <a:ext cx="20320" cy="20320"/>
      </dsp:txXfrm>
    </dsp:sp>
    <dsp:sp modelId="{84FBBA4A-FEDD-8F49-9CE7-39421448760F}">
      <dsp:nvSpPr>
        <dsp:cNvPr id="0" name=""/>
        <dsp:cNvSpPr/>
      </dsp:nvSpPr>
      <dsp:spPr>
        <a:xfrm>
          <a:off x="5345545" y="1002"/>
          <a:ext cx="1016021" cy="508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smtClean="0"/>
            <a:t>Maintenance </a:t>
          </a:r>
          <a:r>
            <a:rPr lang="en-US" sz="1000" kern="1200" noProof="0" smtClean="0"/>
            <a:t>– wacht op reserve onderdelen</a:t>
          </a:r>
          <a:endParaRPr lang="en-US" sz="1000" kern="1200" noProof="0" dirty="0"/>
        </a:p>
      </dsp:txBody>
      <dsp:txXfrm>
        <a:off x="5360424" y="15881"/>
        <a:ext cx="986263" cy="478252"/>
      </dsp:txXfrm>
    </dsp:sp>
    <dsp:sp modelId="{FA3DD138-212E-5543-904B-D3523001109F}">
      <dsp:nvSpPr>
        <dsp:cNvPr id="0" name=""/>
        <dsp:cNvSpPr/>
      </dsp:nvSpPr>
      <dsp:spPr>
        <a:xfrm rot="1186030">
          <a:off x="3503983" y="1049950"/>
          <a:ext cx="431855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431855" y="834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3709114" y="1047503"/>
        <a:ext cx="21592" cy="21592"/>
      </dsp:txXfrm>
    </dsp:sp>
    <dsp:sp modelId="{C68D6BE0-44DE-1141-ACE7-D16607E30419}">
      <dsp:nvSpPr>
        <dsp:cNvPr id="0" name=""/>
        <dsp:cNvSpPr/>
      </dsp:nvSpPr>
      <dsp:spPr>
        <a:xfrm>
          <a:off x="3923115" y="877321"/>
          <a:ext cx="1016021" cy="508010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Sulfine</a:t>
          </a:r>
          <a:r>
            <a:rPr lang="en-US" sz="1000" kern="1200" noProof="0" dirty="0" smtClean="0"/>
            <a:t> </a:t>
          </a:r>
          <a:r>
            <a:rPr lang="en-US" sz="1000" kern="1200" noProof="0" dirty="0" err="1" smtClean="0"/>
            <a:t>fabriek</a:t>
          </a:r>
          <a:r>
            <a:rPr lang="en-US" sz="1000" kern="1200" noProof="0" dirty="0" smtClean="0"/>
            <a:t> is </a:t>
          </a:r>
          <a:r>
            <a:rPr lang="en-US" sz="1000" kern="1200" noProof="0" dirty="0" err="1" smtClean="0"/>
            <a:t>niet</a:t>
          </a:r>
          <a:r>
            <a:rPr lang="en-US" sz="1000" kern="1200" noProof="0" dirty="0" smtClean="0"/>
            <a:t> </a:t>
          </a:r>
          <a:r>
            <a:rPr lang="en-US" sz="1000" kern="1200" noProof="0" dirty="0" err="1" smtClean="0"/>
            <a:t>operationeel</a:t>
          </a:r>
          <a:endParaRPr lang="en-US" sz="1000" kern="1200" noProof="0" dirty="0"/>
        </a:p>
      </dsp:txBody>
      <dsp:txXfrm>
        <a:off x="3937994" y="892200"/>
        <a:ext cx="986263" cy="478252"/>
      </dsp:txXfrm>
    </dsp:sp>
    <dsp:sp modelId="{47BB47A4-4EAC-6F4A-99EE-CB95219D1180}">
      <dsp:nvSpPr>
        <dsp:cNvPr id="0" name=""/>
        <dsp:cNvSpPr/>
      </dsp:nvSpPr>
      <dsp:spPr>
        <a:xfrm rot="19457599">
          <a:off x="4892094" y="976924"/>
          <a:ext cx="500493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500493" y="8349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5129829" y="972761"/>
        <a:ext cx="25024" cy="25024"/>
      </dsp:txXfrm>
    </dsp:sp>
    <dsp:sp modelId="{CC5282F5-CE2F-684E-B42B-753FBC6ABFB9}">
      <dsp:nvSpPr>
        <dsp:cNvPr id="0" name=""/>
        <dsp:cNvSpPr/>
      </dsp:nvSpPr>
      <dsp:spPr>
        <a:xfrm>
          <a:off x="5345545" y="585215"/>
          <a:ext cx="1016021" cy="508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smtClean="0"/>
            <a:t>SO2-alarm</a:t>
          </a:r>
          <a:endParaRPr lang="en-US" sz="1000" kern="1200" noProof="0" dirty="0"/>
        </a:p>
      </dsp:txBody>
      <dsp:txXfrm>
        <a:off x="5360424" y="600094"/>
        <a:ext cx="986263" cy="478252"/>
      </dsp:txXfrm>
    </dsp:sp>
    <dsp:sp modelId="{343ABED0-3B45-374A-9C38-DA79C9FCB9CA}">
      <dsp:nvSpPr>
        <dsp:cNvPr id="0" name=""/>
        <dsp:cNvSpPr/>
      </dsp:nvSpPr>
      <dsp:spPr>
        <a:xfrm rot="2142401">
          <a:off x="4892094" y="1269030"/>
          <a:ext cx="500493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500493" y="8349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5129829" y="1264867"/>
        <a:ext cx="25024" cy="25024"/>
      </dsp:txXfrm>
    </dsp:sp>
    <dsp:sp modelId="{FB1A4E46-880B-BB4F-BA34-F5545D1226D7}">
      <dsp:nvSpPr>
        <dsp:cNvPr id="0" name=""/>
        <dsp:cNvSpPr/>
      </dsp:nvSpPr>
      <dsp:spPr>
        <a:xfrm>
          <a:off x="5345545" y="1169427"/>
          <a:ext cx="1016021" cy="508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Tekort</a:t>
          </a:r>
          <a:r>
            <a:rPr lang="en-US" sz="1000" kern="1200" noProof="0" dirty="0" smtClean="0"/>
            <a:t> </a:t>
          </a:r>
          <a:r>
            <a:rPr lang="en-US" sz="1000" kern="1200" noProof="0" dirty="0" err="1" smtClean="0"/>
            <a:t>aan</a:t>
          </a:r>
          <a:r>
            <a:rPr lang="en-US" sz="1000" kern="1200" noProof="0" dirty="0" smtClean="0"/>
            <a:t> sulfur</a:t>
          </a:r>
          <a:endParaRPr lang="en-US" sz="1000" kern="1200" noProof="0" dirty="0"/>
        </a:p>
      </dsp:txBody>
      <dsp:txXfrm>
        <a:off x="5360424" y="1184306"/>
        <a:ext cx="986263" cy="478252"/>
      </dsp:txXfrm>
    </dsp:sp>
    <dsp:sp modelId="{A4076CF1-4974-514B-8407-3D432AF3F06B}">
      <dsp:nvSpPr>
        <dsp:cNvPr id="0" name=""/>
        <dsp:cNvSpPr/>
      </dsp:nvSpPr>
      <dsp:spPr>
        <a:xfrm rot="3654187">
          <a:off x="3302042" y="1342057"/>
          <a:ext cx="835736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835736" y="834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3699017" y="1329513"/>
        <a:ext cx="41786" cy="41786"/>
      </dsp:txXfrm>
    </dsp:sp>
    <dsp:sp modelId="{3087DE97-040E-154D-A610-9CB45742EA8E}">
      <dsp:nvSpPr>
        <dsp:cNvPr id="0" name=""/>
        <dsp:cNvSpPr/>
      </dsp:nvSpPr>
      <dsp:spPr>
        <a:xfrm>
          <a:off x="3923115" y="1461534"/>
          <a:ext cx="1016021" cy="508010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Er</a:t>
          </a:r>
          <a:r>
            <a:rPr lang="en-US" sz="1000" kern="1200" noProof="0" dirty="0" smtClean="0"/>
            <a:t> is </a:t>
          </a:r>
          <a:r>
            <a:rPr lang="en-US" sz="1000" kern="1200" noProof="0" dirty="0" err="1" smtClean="0"/>
            <a:t>geen</a:t>
          </a:r>
          <a:r>
            <a:rPr lang="en-US" sz="1000" kern="1200" noProof="0" dirty="0" smtClean="0"/>
            <a:t> </a:t>
          </a:r>
          <a:r>
            <a:rPr lang="en-US" sz="1000" kern="1200" noProof="0" dirty="0" err="1" smtClean="0"/>
            <a:t>stoom</a:t>
          </a:r>
          <a:r>
            <a:rPr lang="en-US" sz="1000" kern="1200" noProof="0" dirty="0" smtClean="0"/>
            <a:t> </a:t>
          </a:r>
          <a:r>
            <a:rPr lang="en-US" sz="1000" kern="1200" noProof="0" dirty="0" err="1" smtClean="0"/>
            <a:t>voor</a:t>
          </a:r>
          <a:r>
            <a:rPr lang="en-US" sz="1000" kern="1200" noProof="0" dirty="0" smtClean="0"/>
            <a:t> de turbine</a:t>
          </a:r>
          <a:endParaRPr lang="en-US" sz="1000" kern="1200" noProof="0" dirty="0"/>
        </a:p>
      </dsp:txBody>
      <dsp:txXfrm>
        <a:off x="3937994" y="1476413"/>
        <a:ext cx="986263" cy="478252"/>
      </dsp:txXfrm>
    </dsp:sp>
    <dsp:sp modelId="{0D88FE85-A707-CF4D-B637-C9A1E86C3522}">
      <dsp:nvSpPr>
        <dsp:cNvPr id="0" name=""/>
        <dsp:cNvSpPr/>
      </dsp:nvSpPr>
      <dsp:spPr>
        <a:xfrm rot="1699647">
          <a:off x="2066631" y="3058181"/>
          <a:ext cx="461696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461696" y="8349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2285937" y="3054988"/>
        <a:ext cx="23084" cy="23084"/>
      </dsp:txXfrm>
    </dsp:sp>
    <dsp:sp modelId="{B0CFEC26-9CAE-3843-BBBA-07613985F943}">
      <dsp:nvSpPr>
        <dsp:cNvPr id="0" name=""/>
        <dsp:cNvSpPr/>
      </dsp:nvSpPr>
      <dsp:spPr>
        <a:xfrm>
          <a:off x="2500684" y="2922065"/>
          <a:ext cx="1016021" cy="508010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Capaciteit</a:t>
          </a:r>
          <a:r>
            <a:rPr lang="en-US" sz="1000" kern="1200" noProof="0" dirty="0" smtClean="0"/>
            <a:t> van network LP-</a:t>
          </a:r>
          <a:r>
            <a:rPr lang="en-US" sz="1000" kern="1200" noProof="0" dirty="0" err="1" smtClean="0"/>
            <a:t>stoom</a:t>
          </a:r>
          <a:endParaRPr lang="en-US" sz="1000" kern="1200" noProof="0" dirty="0"/>
        </a:p>
      </dsp:txBody>
      <dsp:txXfrm>
        <a:off x="2515563" y="2936944"/>
        <a:ext cx="986263" cy="478252"/>
      </dsp:txXfrm>
    </dsp:sp>
    <dsp:sp modelId="{81F66DB6-1013-7B45-AB83-0D8E76A20EC0}">
      <dsp:nvSpPr>
        <dsp:cNvPr id="0" name=""/>
        <dsp:cNvSpPr/>
      </dsp:nvSpPr>
      <dsp:spPr>
        <a:xfrm rot="17692822">
          <a:off x="3236924" y="2729561"/>
          <a:ext cx="965972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965972" y="834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3695761" y="2713762"/>
        <a:ext cx="48298" cy="48298"/>
      </dsp:txXfrm>
    </dsp:sp>
    <dsp:sp modelId="{F6EF01DA-8995-F141-9658-0FDF35412DEA}">
      <dsp:nvSpPr>
        <dsp:cNvPr id="0" name=""/>
        <dsp:cNvSpPr/>
      </dsp:nvSpPr>
      <dsp:spPr>
        <a:xfrm>
          <a:off x="3923115" y="2045746"/>
          <a:ext cx="1016021" cy="508010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Lagedrukboilers</a:t>
          </a:r>
          <a:r>
            <a:rPr lang="en-US" sz="1000" kern="1200" noProof="0" dirty="0" smtClean="0"/>
            <a:t> </a:t>
          </a:r>
          <a:r>
            <a:rPr lang="en-US" sz="1000" kern="1200" noProof="0" dirty="0" err="1" smtClean="0"/>
            <a:t>bij</a:t>
          </a:r>
          <a:r>
            <a:rPr lang="en-US" sz="1000" kern="1200" noProof="0" dirty="0" smtClean="0"/>
            <a:t> P2</a:t>
          </a:r>
          <a:endParaRPr lang="en-US" sz="1000" kern="1200" noProof="0" dirty="0"/>
        </a:p>
      </dsp:txBody>
      <dsp:txXfrm>
        <a:off x="3937994" y="2060625"/>
        <a:ext cx="986263" cy="478252"/>
      </dsp:txXfrm>
    </dsp:sp>
    <dsp:sp modelId="{19720260-CAB2-3446-9FEC-0D1AC8111729}">
      <dsp:nvSpPr>
        <dsp:cNvPr id="0" name=""/>
        <dsp:cNvSpPr/>
      </dsp:nvSpPr>
      <dsp:spPr>
        <a:xfrm rot="19457599">
          <a:off x="3469664" y="3021668"/>
          <a:ext cx="500493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500493" y="834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3707398" y="3017505"/>
        <a:ext cx="25024" cy="25024"/>
      </dsp:txXfrm>
    </dsp:sp>
    <dsp:sp modelId="{EF0E6F1B-274C-DF41-8614-DF246A0A30A0}">
      <dsp:nvSpPr>
        <dsp:cNvPr id="0" name=""/>
        <dsp:cNvSpPr/>
      </dsp:nvSpPr>
      <dsp:spPr>
        <a:xfrm>
          <a:off x="3923115" y="2629959"/>
          <a:ext cx="1016021" cy="508010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smtClean="0"/>
            <a:t>HP </a:t>
          </a:r>
          <a:r>
            <a:rPr lang="en-US" sz="1000" kern="1200" noProof="0" dirty="0" err="1" smtClean="0"/>
            <a:t>vs</a:t>
          </a:r>
          <a:r>
            <a:rPr lang="en-US" sz="1000" kern="1200" noProof="0" dirty="0" smtClean="0"/>
            <a:t> LP</a:t>
          </a:r>
          <a:endParaRPr lang="en-US" sz="1000" kern="1200" noProof="0" dirty="0"/>
        </a:p>
      </dsp:txBody>
      <dsp:txXfrm>
        <a:off x="3937994" y="2644838"/>
        <a:ext cx="986263" cy="478252"/>
      </dsp:txXfrm>
    </dsp:sp>
    <dsp:sp modelId="{0B7A07A5-734A-9C4E-BAC0-CE4322A97A2B}">
      <dsp:nvSpPr>
        <dsp:cNvPr id="0" name=""/>
        <dsp:cNvSpPr/>
      </dsp:nvSpPr>
      <dsp:spPr>
        <a:xfrm rot="19457599">
          <a:off x="4892094" y="2729561"/>
          <a:ext cx="500493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500493" y="8349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5129829" y="2725399"/>
        <a:ext cx="25024" cy="25024"/>
      </dsp:txXfrm>
    </dsp:sp>
    <dsp:sp modelId="{77960A4B-D8FB-7B4E-B058-B79A4CAB3D75}">
      <dsp:nvSpPr>
        <dsp:cNvPr id="0" name=""/>
        <dsp:cNvSpPr/>
      </dsp:nvSpPr>
      <dsp:spPr>
        <a:xfrm>
          <a:off x="5345545" y="2337852"/>
          <a:ext cx="1016021" cy="508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smtClean="0"/>
            <a:t>Boiler BERI</a:t>
          </a:r>
          <a:endParaRPr lang="en-US" sz="1000" kern="1200" noProof="0"/>
        </a:p>
      </dsp:txBody>
      <dsp:txXfrm>
        <a:off x="5360424" y="2352731"/>
        <a:ext cx="986263" cy="478252"/>
      </dsp:txXfrm>
    </dsp:sp>
    <dsp:sp modelId="{23B68D30-8445-2741-8212-7401C0FBFF53}">
      <dsp:nvSpPr>
        <dsp:cNvPr id="0" name=""/>
        <dsp:cNvSpPr/>
      </dsp:nvSpPr>
      <dsp:spPr>
        <a:xfrm rot="2142401">
          <a:off x="4892094" y="3021668"/>
          <a:ext cx="500493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500493" y="8349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5129829" y="3017505"/>
        <a:ext cx="25024" cy="25024"/>
      </dsp:txXfrm>
    </dsp:sp>
    <dsp:sp modelId="{2295D9DB-3683-384D-A774-1E7FDB895A5B}">
      <dsp:nvSpPr>
        <dsp:cNvPr id="0" name=""/>
        <dsp:cNvSpPr/>
      </dsp:nvSpPr>
      <dsp:spPr>
        <a:xfrm>
          <a:off x="5345545" y="2922065"/>
          <a:ext cx="1016021" cy="508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smtClean="0"/>
            <a:t>Boiler SO2</a:t>
          </a:r>
          <a:endParaRPr lang="en-US" sz="1000" kern="1200" noProof="0"/>
        </a:p>
      </dsp:txBody>
      <dsp:txXfrm>
        <a:off x="5360424" y="2936944"/>
        <a:ext cx="986263" cy="478252"/>
      </dsp:txXfrm>
    </dsp:sp>
    <dsp:sp modelId="{6C936BFF-5B9F-E446-AB61-CA9A30498E8F}">
      <dsp:nvSpPr>
        <dsp:cNvPr id="0" name=""/>
        <dsp:cNvSpPr/>
      </dsp:nvSpPr>
      <dsp:spPr>
        <a:xfrm rot="3907178">
          <a:off x="3236924" y="3605880"/>
          <a:ext cx="965972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965972" y="834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3695761" y="3590081"/>
        <a:ext cx="48298" cy="48298"/>
      </dsp:txXfrm>
    </dsp:sp>
    <dsp:sp modelId="{BBD45B3A-3B53-1043-A726-7D68C7D1008C}">
      <dsp:nvSpPr>
        <dsp:cNvPr id="0" name=""/>
        <dsp:cNvSpPr/>
      </dsp:nvSpPr>
      <dsp:spPr>
        <a:xfrm>
          <a:off x="3923115" y="3798384"/>
          <a:ext cx="1016021" cy="508010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Vraag</a:t>
          </a:r>
          <a:r>
            <a:rPr lang="en-US" sz="1000" kern="1200" noProof="0" dirty="0" smtClean="0"/>
            <a:t>/</a:t>
          </a:r>
          <a:r>
            <a:rPr lang="en-US" sz="1000" kern="1200" noProof="0" dirty="0" err="1" smtClean="0"/>
            <a:t>verliezen</a:t>
          </a:r>
          <a:endParaRPr lang="en-US" sz="1000" kern="1200" noProof="0" dirty="0"/>
        </a:p>
      </dsp:txBody>
      <dsp:txXfrm>
        <a:off x="3937994" y="3813263"/>
        <a:ext cx="986263" cy="478252"/>
      </dsp:txXfrm>
    </dsp:sp>
    <dsp:sp modelId="{7CDFC69F-FAC2-3944-B47F-0CF791DDEDA3}">
      <dsp:nvSpPr>
        <dsp:cNvPr id="0" name=""/>
        <dsp:cNvSpPr/>
      </dsp:nvSpPr>
      <dsp:spPr>
        <a:xfrm rot="19457599">
          <a:off x="4892094" y="3897987"/>
          <a:ext cx="500493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500493" y="8349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5129829" y="3893824"/>
        <a:ext cx="25024" cy="25024"/>
      </dsp:txXfrm>
    </dsp:sp>
    <dsp:sp modelId="{34908181-7B40-5D4F-8E51-C03ECC77115A}">
      <dsp:nvSpPr>
        <dsp:cNvPr id="0" name=""/>
        <dsp:cNvSpPr/>
      </dsp:nvSpPr>
      <dsp:spPr>
        <a:xfrm>
          <a:off x="5345545" y="3506278"/>
          <a:ext cx="1016021" cy="508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Gebruikers</a:t>
          </a:r>
          <a:endParaRPr lang="en-US" sz="1000" kern="1200" noProof="0" dirty="0"/>
        </a:p>
      </dsp:txBody>
      <dsp:txXfrm>
        <a:off x="5360424" y="3521157"/>
        <a:ext cx="986263" cy="478252"/>
      </dsp:txXfrm>
    </dsp:sp>
    <dsp:sp modelId="{F1353D91-B2E5-CC4F-8BF8-7957C82C27FA}">
      <dsp:nvSpPr>
        <dsp:cNvPr id="0" name=""/>
        <dsp:cNvSpPr/>
      </dsp:nvSpPr>
      <dsp:spPr>
        <a:xfrm rot="2142401">
          <a:off x="4892094" y="4190093"/>
          <a:ext cx="500493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500493" y="8349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5129829" y="4185930"/>
        <a:ext cx="25024" cy="25024"/>
      </dsp:txXfrm>
    </dsp:sp>
    <dsp:sp modelId="{F71C1B2B-BD76-AD40-9047-2B047A8435E3}">
      <dsp:nvSpPr>
        <dsp:cNvPr id="0" name=""/>
        <dsp:cNvSpPr/>
      </dsp:nvSpPr>
      <dsp:spPr>
        <a:xfrm>
          <a:off x="5345545" y="4090490"/>
          <a:ext cx="1016021" cy="50801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Opstart</a:t>
          </a:r>
          <a:r>
            <a:rPr lang="en-US" sz="1000" kern="1200" noProof="0" dirty="0" smtClean="0"/>
            <a:t> </a:t>
          </a:r>
          <a:r>
            <a:rPr lang="en-US" sz="1000" kern="1200" noProof="0" dirty="0" err="1" smtClean="0"/>
            <a:t>kleppen</a:t>
          </a:r>
          <a:endParaRPr lang="en-US" sz="1000" kern="1200" noProof="0" dirty="0"/>
        </a:p>
      </dsp:txBody>
      <dsp:txXfrm>
        <a:off x="5360424" y="4105369"/>
        <a:ext cx="986263" cy="478252"/>
      </dsp:txXfrm>
    </dsp:sp>
    <dsp:sp modelId="{B6B8F540-DF25-D14A-B847-A32073FD7D98}">
      <dsp:nvSpPr>
        <dsp:cNvPr id="0" name=""/>
        <dsp:cNvSpPr/>
      </dsp:nvSpPr>
      <dsp:spPr>
        <a:xfrm rot="4701201">
          <a:off x="1290897" y="3934500"/>
          <a:ext cx="2013166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2013166" y="8349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noProof="0"/>
        </a:p>
      </dsp:txBody>
      <dsp:txXfrm>
        <a:off x="2247151" y="3892520"/>
        <a:ext cx="100658" cy="100658"/>
      </dsp:txXfrm>
    </dsp:sp>
    <dsp:sp modelId="{FC86CF09-1E2B-A846-9298-F001E33197C3}">
      <dsp:nvSpPr>
        <dsp:cNvPr id="0" name=""/>
        <dsp:cNvSpPr/>
      </dsp:nvSpPr>
      <dsp:spPr>
        <a:xfrm>
          <a:off x="2500684" y="4674703"/>
          <a:ext cx="1016021" cy="508010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Algemeen</a:t>
          </a:r>
          <a:r>
            <a:rPr lang="en-US" sz="1000" kern="1200" noProof="0" dirty="0" smtClean="0"/>
            <a:t> management</a:t>
          </a:r>
          <a:endParaRPr lang="en-US" sz="1000" kern="1200" noProof="0" dirty="0"/>
        </a:p>
      </dsp:txBody>
      <dsp:txXfrm>
        <a:off x="2515563" y="4689582"/>
        <a:ext cx="986263" cy="478252"/>
      </dsp:txXfrm>
    </dsp:sp>
    <dsp:sp modelId="{904B961A-C9BF-2F42-8385-CEDB7548DD17}">
      <dsp:nvSpPr>
        <dsp:cNvPr id="0" name=""/>
        <dsp:cNvSpPr/>
      </dsp:nvSpPr>
      <dsp:spPr>
        <a:xfrm rot="19457599">
          <a:off x="3469664" y="4774305"/>
          <a:ext cx="500493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500493" y="834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3707398" y="4770143"/>
        <a:ext cx="25024" cy="25024"/>
      </dsp:txXfrm>
    </dsp:sp>
    <dsp:sp modelId="{0EAD5B6B-4D36-7C4F-B8B3-0835391E12AB}">
      <dsp:nvSpPr>
        <dsp:cNvPr id="0" name=""/>
        <dsp:cNvSpPr/>
      </dsp:nvSpPr>
      <dsp:spPr>
        <a:xfrm>
          <a:off x="3923115" y="4382596"/>
          <a:ext cx="1016021" cy="508010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smtClean="0"/>
            <a:t>Training</a:t>
          </a:r>
          <a:endParaRPr lang="en-US" sz="1000" kern="1200" noProof="0"/>
        </a:p>
      </dsp:txBody>
      <dsp:txXfrm>
        <a:off x="3937994" y="4397475"/>
        <a:ext cx="986263" cy="478252"/>
      </dsp:txXfrm>
    </dsp:sp>
    <dsp:sp modelId="{6FD95DA8-067E-9B4C-9F78-DBD7A12326F9}">
      <dsp:nvSpPr>
        <dsp:cNvPr id="0" name=""/>
        <dsp:cNvSpPr/>
      </dsp:nvSpPr>
      <dsp:spPr>
        <a:xfrm rot="2142401">
          <a:off x="3469664" y="5066412"/>
          <a:ext cx="500493" cy="16699"/>
        </a:xfrm>
        <a:custGeom>
          <a:avLst/>
          <a:gdLst/>
          <a:ahLst/>
          <a:cxnLst/>
          <a:rect l="0" t="0" r="0" b="0"/>
          <a:pathLst>
            <a:path>
              <a:moveTo>
                <a:pt x="0" y="8349"/>
              </a:moveTo>
              <a:lnTo>
                <a:pt x="500493" y="8349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3707398" y="5062249"/>
        <a:ext cx="25024" cy="25024"/>
      </dsp:txXfrm>
    </dsp:sp>
    <dsp:sp modelId="{09C5F9FD-7C1D-8249-B8DD-16E03D454F89}">
      <dsp:nvSpPr>
        <dsp:cNvPr id="0" name=""/>
        <dsp:cNvSpPr/>
      </dsp:nvSpPr>
      <dsp:spPr>
        <a:xfrm>
          <a:off x="3923115" y="4966809"/>
          <a:ext cx="1016021" cy="508010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noProof="0" dirty="0" err="1" smtClean="0"/>
            <a:t>Communicatie</a:t>
          </a:r>
          <a:r>
            <a:rPr lang="en-US" sz="1000" kern="1200" noProof="0" dirty="0" smtClean="0"/>
            <a:t> &amp; </a:t>
          </a:r>
          <a:r>
            <a:rPr lang="en-US" sz="1000" kern="1200" noProof="0" dirty="0" err="1" smtClean="0"/>
            <a:t>coördinatie</a:t>
          </a:r>
          <a:endParaRPr lang="en-US" sz="1000" kern="1200" noProof="0" dirty="0"/>
        </a:p>
      </dsp:txBody>
      <dsp:txXfrm>
        <a:off x="3937994" y="4981688"/>
        <a:ext cx="986263" cy="4782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382</cdr:x>
      <cdr:y>0.59214</cdr:y>
    </cdr:from>
    <cdr:to>
      <cdr:x>0.3546</cdr:x>
      <cdr:y>0.80745</cdr:y>
    </cdr:to>
    <cdr:sp macro="" textlink="">
      <cdr:nvSpPr>
        <cdr:cNvPr id="2" name="Légende sans bordure 2 15"/>
        <cdr:cNvSpPr/>
      </cdr:nvSpPr>
      <cdr:spPr>
        <a:xfrm xmlns:a="http://schemas.openxmlformats.org/drawingml/2006/main">
          <a:off x="596804" y="1872166"/>
          <a:ext cx="778982" cy="680720"/>
        </a:xfrm>
        <a:prstGeom xmlns:a="http://schemas.openxmlformats.org/drawingml/2006/main" prst="callout2">
          <a:avLst>
            <a:gd name="adj1" fmla="val 13361"/>
            <a:gd name="adj2" fmla="val 38562"/>
            <a:gd name="adj3" fmla="val -27270"/>
            <a:gd name="adj4" fmla="val 1228"/>
            <a:gd name="adj5" fmla="val -65361"/>
            <a:gd name="adj6" fmla="val 32279"/>
          </a:avLst>
        </a:prstGeom>
        <a:noFill xmlns:a="http://schemas.openxmlformats.org/drawingml/2006/main"/>
        <a:ln xmlns:a="http://schemas.openxmlformats.org/drawingml/2006/main" w="19050">
          <a:solidFill>
            <a:schemeClr val="accent3">
              <a:lumMod val="50000"/>
            </a:schemeClr>
          </a:solidFill>
          <a:tailEnd type="oval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101599" tIns="50799" rIns="101599" bIns="50799" rtlCol="0" anchor="ctr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187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373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559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746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5932" algn="l" defTabSz="457187" rtl="0" eaLnBrk="1" latinLnBrk="0" hangingPunct="1"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118" algn="l" defTabSz="457187" rtl="0" eaLnBrk="1" latinLnBrk="0" hangingPunct="1"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304" algn="l" defTabSz="457187" rtl="0" eaLnBrk="1" latinLnBrk="0" hangingPunct="1"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490" algn="l" defTabSz="457187" rtl="0" eaLnBrk="1" latinLnBrk="0" hangingPunct="1"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CA" sz="1300" dirty="0" smtClean="0">
              <a:solidFill>
                <a:schemeClr val="tx1"/>
              </a:solidFill>
            </a:rPr>
            <a:t>Target</a:t>
          </a:r>
          <a:endParaRPr lang="fr-CA" sz="1300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35146</cdr:x>
      <cdr:y>0.55597</cdr:y>
    </cdr:from>
    <cdr:to>
      <cdr:x>0.61643</cdr:x>
      <cdr:y>0.77127</cdr:y>
    </cdr:to>
    <cdr:sp macro="" textlink="">
      <cdr:nvSpPr>
        <cdr:cNvPr id="3" name="Légende sans bordure 2 16"/>
        <cdr:cNvSpPr/>
      </cdr:nvSpPr>
      <cdr:spPr>
        <a:xfrm xmlns:a="http://schemas.openxmlformats.org/drawingml/2006/main">
          <a:off x="1363626" y="1757794"/>
          <a:ext cx="1028058" cy="680720"/>
        </a:xfrm>
        <a:prstGeom xmlns:a="http://schemas.openxmlformats.org/drawingml/2006/main" prst="callout2">
          <a:avLst>
            <a:gd name="adj1" fmla="val 48601"/>
            <a:gd name="adj2" fmla="val 100417"/>
            <a:gd name="adj3" fmla="val 14190"/>
            <a:gd name="adj4" fmla="val 140570"/>
            <a:gd name="adj5" fmla="val -28048"/>
            <a:gd name="adj6" fmla="val 130887"/>
          </a:avLst>
        </a:prstGeom>
        <a:noFill xmlns:a="http://schemas.openxmlformats.org/drawingml/2006/main"/>
        <a:ln xmlns:a="http://schemas.openxmlformats.org/drawingml/2006/main" w="19050">
          <a:solidFill>
            <a:schemeClr val="accent3">
              <a:lumMod val="50000"/>
            </a:schemeClr>
          </a:solidFill>
          <a:tailEnd type="oval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101599" tIns="50799" rIns="101599" bIns="50799" rtlCol="0" anchor="ctr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187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373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559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746" algn="l" rtl="0" fontAlgn="base">
            <a:spcBef>
              <a:spcPct val="0"/>
            </a:spcBef>
            <a:spcAft>
              <a:spcPct val="0"/>
            </a:spcAft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5932" algn="l" defTabSz="457187" rtl="0" eaLnBrk="1" latinLnBrk="0" hangingPunct="1"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118" algn="l" defTabSz="457187" rtl="0" eaLnBrk="1" latinLnBrk="0" hangingPunct="1"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304" algn="l" defTabSz="457187" rtl="0" eaLnBrk="1" latinLnBrk="0" hangingPunct="1"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490" algn="l" defTabSz="457187" rtl="0" eaLnBrk="1" latinLnBrk="0" hangingPunct="1">
            <a:defRPr sz="24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CA" sz="1300" dirty="0" err="1" smtClean="0">
              <a:solidFill>
                <a:schemeClr val="tx1"/>
              </a:solidFill>
            </a:rPr>
            <a:t>Historische</a:t>
          </a:r>
          <a:r>
            <a:rPr lang="fr-CA" sz="1300" dirty="0" smtClean="0">
              <a:solidFill>
                <a:schemeClr val="tx1"/>
              </a:solidFill>
            </a:rPr>
            <a:t> data</a:t>
          </a:r>
          <a:endParaRPr lang="fr-CA" sz="1300" dirty="0">
            <a:solidFill>
              <a:schemeClr val="tx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59" tIns="47380" rIns="94759" bIns="47380" numCol="1" anchor="t" anchorCtr="0" compatLnSpc="1">
            <a:prstTxWarp prst="textNoShape">
              <a:avLst/>
            </a:prstTxWarp>
          </a:bodyPr>
          <a:lstStyle>
            <a:lvl1pPr defTabSz="947738" eaLnBrk="1" hangingPunct="1">
              <a:defRPr sz="12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59" tIns="47380" rIns="94759" bIns="47380" numCol="1" anchor="t" anchorCtr="0" compatLnSpc="1">
            <a:prstTxWarp prst="textNoShape">
              <a:avLst/>
            </a:prstTxWarp>
          </a:bodyPr>
          <a:lstStyle>
            <a:lvl1pPr algn="r" defTabSz="947738" eaLnBrk="1" hangingPunct="1">
              <a:defRPr sz="12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1085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59" tIns="47380" rIns="94759" bIns="47380" numCol="1" anchor="b" anchorCtr="0" compatLnSpc="1">
            <a:prstTxWarp prst="textNoShape">
              <a:avLst/>
            </a:prstTxWarp>
          </a:bodyPr>
          <a:lstStyle>
            <a:lvl1pPr defTabSz="947738" eaLnBrk="1" hangingPunct="1">
              <a:defRPr sz="12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1085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59" tIns="47380" rIns="94759" bIns="47380" numCol="1" anchor="b" anchorCtr="0" compatLnSpc="1">
            <a:prstTxWarp prst="textNoShape">
              <a:avLst/>
            </a:prstTxWarp>
          </a:bodyPr>
          <a:lstStyle>
            <a:lvl1pPr algn="r" defTabSz="947738" eaLnBrk="1" hangingPunct="1">
              <a:defRPr sz="12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39274E9-4089-426F-9570-5DB7A33BE064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21875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59" tIns="47380" rIns="94759" bIns="47380" numCol="1" anchor="t" anchorCtr="0" compatLnSpc="1">
            <a:prstTxWarp prst="textNoShape">
              <a:avLst/>
            </a:prstTxWarp>
          </a:bodyPr>
          <a:lstStyle>
            <a:lvl1pPr defTabSz="947738" eaLnBrk="1" hangingPunct="1">
              <a:defRPr sz="12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147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59" tIns="47380" rIns="94759" bIns="47380" numCol="1" anchor="t" anchorCtr="0" compatLnSpc="1">
            <a:prstTxWarp prst="textNoShape">
              <a:avLst/>
            </a:prstTxWarp>
          </a:bodyPr>
          <a:lstStyle>
            <a:lvl1pPr algn="r" defTabSz="947738" eaLnBrk="1" hangingPunct="1">
              <a:defRPr sz="12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6763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47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6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59" tIns="47380" rIns="94759" bIns="473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noProof="0" smtClean="0"/>
              <a:t>Klik om de opmaakprofielen van de modeltekst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</a:p>
        </p:txBody>
      </p:sp>
      <p:sp>
        <p:nvSpPr>
          <p:cNvPr id="147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59" tIns="47380" rIns="94759" bIns="47380" numCol="1" anchor="b" anchorCtr="0" compatLnSpc="1">
            <a:prstTxWarp prst="textNoShape">
              <a:avLst/>
            </a:prstTxWarp>
          </a:bodyPr>
          <a:lstStyle>
            <a:lvl1pPr defTabSz="947738" eaLnBrk="1" hangingPunct="1">
              <a:defRPr sz="12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147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759" tIns="47380" rIns="94759" bIns="47380" numCol="1" anchor="b" anchorCtr="0" compatLnSpc="1">
            <a:prstTxWarp prst="textNoShape">
              <a:avLst/>
            </a:prstTxWarp>
          </a:bodyPr>
          <a:lstStyle>
            <a:lvl1pPr algn="r" defTabSz="947738" eaLnBrk="1" hangingPunct="1">
              <a:defRPr sz="12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AD9840B-59DF-4F98-8F3B-2CA5E3EF72E7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07875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 smtClean="0"/>
              <a:pPr eaLnBrk="1" hangingPunct="1"/>
              <a:t>2</a:t>
            </a:fld>
            <a:endParaRPr lang="en-US" sz="1200" dirty="0" smtClean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356" y="4913436"/>
            <a:ext cx="5844153" cy="225669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09757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Drie afdelingen in Puurs</a:t>
            </a:r>
            <a:r>
              <a:rPr lang="nl-BE" baseline="0" dirty="0" smtClean="0"/>
              <a:t> waarin een participatief traject rond energie-efficiëntie werd doorlopen.</a:t>
            </a:r>
          </a:p>
          <a:p>
            <a:endParaRPr lang="nl-BE" baseline="0" dirty="0" smtClean="0"/>
          </a:p>
          <a:p>
            <a:r>
              <a:rPr lang="nl-BE" baseline="0" dirty="0" smtClean="0"/>
              <a:t>Eerste was solventextractie, daarna indamping en zoutenafdeling. Vandaag solventextractie als case voor deze lezing</a:t>
            </a:r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D9840B-59DF-4F98-8F3B-2CA5E3EF72E7}" type="slidenum">
              <a:rPr lang="nl-NL" smtClean="0"/>
              <a:pPr>
                <a:defRPr/>
              </a:pPr>
              <a:t>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798161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DATAmaestro</a:t>
            </a:r>
            <a:r>
              <a:rPr lang="en-GB" dirty="0" smtClean="0"/>
              <a:t>©</a:t>
            </a:r>
            <a:r>
              <a:rPr lang="en-US" dirty="0" smtClean="0"/>
              <a:t> </a:t>
            </a:r>
            <a:r>
              <a:rPr lang="en-US" dirty="0" err="1" smtClean="0"/>
              <a:t>predictieve</a:t>
            </a:r>
            <a:r>
              <a:rPr lang="en-US" dirty="0" smtClean="0"/>
              <a:t> </a:t>
            </a:r>
            <a:r>
              <a:rPr lang="en-US" dirty="0" err="1" smtClean="0"/>
              <a:t>analyse</a:t>
            </a:r>
            <a:r>
              <a:rPr lang="en-US" dirty="0" smtClean="0"/>
              <a:t> software </a:t>
            </a:r>
          </a:p>
          <a:p>
            <a:pPr lvl="1"/>
            <a:r>
              <a:rPr lang="en-US" sz="1800" dirty="0" smtClean="0"/>
              <a:t>Cloud based data mining software </a:t>
            </a:r>
          </a:p>
          <a:p>
            <a:pPr lvl="1"/>
            <a:r>
              <a:rPr lang="en-US" sz="1800" dirty="0" smtClean="0"/>
              <a:t>Op basis van de </a:t>
            </a:r>
            <a:r>
              <a:rPr lang="en-US" sz="1800" dirty="0" err="1" smtClean="0"/>
              <a:t>meest</a:t>
            </a:r>
            <a:r>
              <a:rPr lang="en-US" sz="1800" dirty="0" smtClean="0"/>
              <a:t> </a:t>
            </a:r>
            <a:r>
              <a:rPr lang="en-US" sz="1800" dirty="0" err="1" smtClean="0"/>
              <a:t>geavanceerde</a:t>
            </a:r>
            <a:r>
              <a:rPr lang="en-US" sz="1800" dirty="0" smtClean="0"/>
              <a:t> data mining </a:t>
            </a:r>
            <a:r>
              <a:rPr lang="en-US" sz="1800" dirty="0" err="1" smtClean="0"/>
              <a:t>technologieën</a:t>
            </a:r>
            <a:endParaRPr lang="en-US" sz="1800" dirty="0" smtClean="0"/>
          </a:p>
          <a:p>
            <a:pPr lvl="1"/>
            <a:r>
              <a:rPr lang="en-US" sz="1800" dirty="0" err="1" smtClean="0"/>
              <a:t>Ontworpen</a:t>
            </a:r>
            <a:r>
              <a:rPr lang="en-US" sz="1800" dirty="0" smtClean="0"/>
              <a:t> </a:t>
            </a:r>
            <a:r>
              <a:rPr lang="en-US" sz="1800" dirty="0" err="1" smtClean="0"/>
              <a:t>voor</a:t>
            </a:r>
            <a:r>
              <a:rPr lang="en-US" sz="1800" dirty="0" smtClean="0"/>
              <a:t> </a:t>
            </a:r>
            <a:r>
              <a:rPr lang="en-US" sz="1800" dirty="0" err="1" smtClean="0"/>
              <a:t>gebruikers</a:t>
            </a:r>
            <a:r>
              <a:rPr lang="en-US" sz="1800" dirty="0" smtClean="0"/>
              <a:t> die </a:t>
            </a:r>
            <a:r>
              <a:rPr lang="en-US" sz="1800" dirty="0" err="1" smtClean="0"/>
              <a:t>geen</a:t>
            </a:r>
            <a:r>
              <a:rPr lang="en-US" sz="1800" dirty="0" smtClean="0"/>
              <a:t> specialist </a:t>
            </a:r>
            <a:r>
              <a:rPr lang="en-US" sz="1800" dirty="0" err="1" smtClean="0"/>
              <a:t>zijn</a:t>
            </a:r>
            <a:r>
              <a:rPr lang="en-US" sz="1800" dirty="0" smtClean="0"/>
              <a:t> in data mining</a:t>
            </a:r>
          </a:p>
          <a:p>
            <a:pPr lvl="1"/>
            <a:r>
              <a:rPr lang="en-US" sz="1800" dirty="0" err="1" smtClean="0"/>
              <a:t>Gebaseerd</a:t>
            </a:r>
            <a:r>
              <a:rPr lang="en-US" sz="1800" dirty="0" smtClean="0"/>
              <a:t> op 20+ </a:t>
            </a:r>
            <a:r>
              <a:rPr lang="en-US" sz="1800" dirty="0" err="1" smtClean="0"/>
              <a:t>jaren</a:t>
            </a:r>
            <a:r>
              <a:rPr lang="en-US" sz="1800" dirty="0" smtClean="0"/>
              <a:t> </a:t>
            </a:r>
            <a:r>
              <a:rPr lang="en-US" sz="1800" dirty="0" err="1" smtClean="0"/>
              <a:t>onderzoek</a:t>
            </a:r>
            <a:r>
              <a:rPr lang="en-US" sz="1800" dirty="0" smtClean="0"/>
              <a:t> in the Machine Learning Laboratory </a:t>
            </a:r>
            <a:r>
              <a:rPr lang="en-US" sz="1800" dirty="0" err="1" smtClean="0"/>
              <a:t>aan</a:t>
            </a:r>
            <a:r>
              <a:rPr lang="en-US" sz="1800" dirty="0" smtClean="0"/>
              <a:t> de University of Liege, Belgium</a:t>
            </a:r>
          </a:p>
          <a:p>
            <a:pPr lvl="1"/>
            <a:endParaRPr lang="en-US" sz="1800" dirty="0" smtClean="0"/>
          </a:p>
          <a:p>
            <a:r>
              <a:rPr lang="en-US" dirty="0" err="1" smtClean="0"/>
              <a:t>ENERGYmaestro</a:t>
            </a:r>
            <a:r>
              <a:rPr lang="en-GB" dirty="0" smtClean="0"/>
              <a:t>©</a:t>
            </a:r>
            <a:r>
              <a:rPr lang="en-US" dirty="0" smtClean="0"/>
              <a:t> </a:t>
            </a:r>
            <a:r>
              <a:rPr lang="en-US" dirty="0" err="1" smtClean="0"/>
              <a:t>energiemanagement</a:t>
            </a:r>
            <a:r>
              <a:rPr lang="en-US" dirty="0" smtClean="0"/>
              <a:t> &amp; </a:t>
            </a:r>
            <a:r>
              <a:rPr lang="en-US" dirty="0" err="1" smtClean="0"/>
              <a:t>informatie</a:t>
            </a:r>
            <a:r>
              <a:rPr lang="en-US" dirty="0" smtClean="0"/>
              <a:t> </a:t>
            </a:r>
            <a:r>
              <a:rPr lang="en-US" dirty="0" err="1" smtClean="0"/>
              <a:t>systeem</a:t>
            </a:r>
            <a:endParaRPr lang="en-US" dirty="0" smtClean="0"/>
          </a:p>
          <a:p>
            <a:pPr lvl="1"/>
            <a:r>
              <a:rPr lang="en-US" dirty="0" err="1" smtClean="0"/>
              <a:t>Een</a:t>
            </a:r>
            <a:r>
              <a:rPr lang="en-US" dirty="0" smtClean="0"/>
              <a:t> </a:t>
            </a:r>
            <a:r>
              <a:rPr lang="en-US" dirty="0" err="1" smtClean="0"/>
              <a:t>managementsoplossing</a:t>
            </a:r>
            <a:r>
              <a:rPr lang="en-US" dirty="0" smtClean="0"/>
              <a:t> </a:t>
            </a:r>
            <a:r>
              <a:rPr lang="en-US" dirty="0" err="1" smtClean="0"/>
              <a:t>voor</a:t>
            </a:r>
            <a:r>
              <a:rPr lang="en-US" dirty="0" smtClean="0"/>
              <a:t> </a:t>
            </a:r>
            <a:r>
              <a:rPr lang="en-US" dirty="0" err="1" smtClean="0"/>
              <a:t>energieperformantie</a:t>
            </a:r>
            <a:r>
              <a:rPr lang="en-US" dirty="0" smtClean="0"/>
              <a:t> </a:t>
            </a:r>
            <a:r>
              <a:rPr lang="en-US" dirty="0" err="1" smtClean="0"/>
              <a:t>binnen</a:t>
            </a:r>
            <a:r>
              <a:rPr lang="en-US" dirty="0" smtClean="0"/>
              <a:t> de </a:t>
            </a:r>
            <a:r>
              <a:rPr lang="en-US" dirty="0" err="1" smtClean="0"/>
              <a:t>industrie</a:t>
            </a:r>
            <a:endParaRPr lang="en-US" dirty="0" smtClean="0"/>
          </a:p>
          <a:p>
            <a:pPr lvl="1"/>
            <a:r>
              <a:rPr lang="en-US" dirty="0" err="1" smtClean="0"/>
              <a:t>Gebaseerd</a:t>
            </a:r>
            <a:r>
              <a:rPr lang="en-US" dirty="0" smtClean="0"/>
              <a:t> op </a:t>
            </a:r>
            <a:r>
              <a:rPr lang="en-US" dirty="0" err="1" smtClean="0"/>
              <a:t>DATAmaestro</a:t>
            </a:r>
            <a:endParaRPr lang="en-US" dirty="0" smtClean="0"/>
          </a:p>
          <a:p>
            <a:pPr lvl="1"/>
            <a:r>
              <a:rPr lang="en-US" dirty="0" err="1" smtClean="0"/>
              <a:t>Technieken</a:t>
            </a:r>
            <a:r>
              <a:rPr lang="en-US" dirty="0" smtClean="0"/>
              <a:t> van </a:t>
            </a:r>
            <a:r>
              <a:rPr lang="en-US" dirty="0" err="1" smtClean="0"/>
              <a:t>veranderingsmanagement</a:t>
            </a:r>
            <a:r>
              <a:rPr lang="en-US" dirty="0" smtClean="0"/>
              <a:t> &amp; continue </a:t>
            </a:r>
            <a:r>
              <a:rPr lang="en-US" dirty="0" err="1" smtClean="0"/>
              <a:t>verbetering</a:t>
            </a:r>
            <a:endParaRPr lang="en-US" dirty="0" smtClean="0"/>
          </a:p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D9840B-59DF-4F98-8F3B-2CA5E3EF72E7}" type="slidenum">
              <a:rPr lang="nl-NL" smtClean="0"/>
              <a:pPr>
                <a:defRPr/>
              </a:pPr>
              <a:t>4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27729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Het participatief project focust</a:t>
            </a:r>
            <a:r>
              <a:rPr lang="nl-BE" baseline="0" dirty="0" smtClean="0"/>
              <a:t> op de reductie van de energiekost door operationele verbeteringen</a:t>
            </a:r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D9840B-59DF-4F98-8F3B-2CA5E3EF72E7}" type="slidenum">
              <a:rPr lang="nl-NL" smtClean="0"/>
              <a:pPr>
                <a:defRPr/>
              </a:pPr>
              <a:t>6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623558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F0F17E-C680-1541-B7F6-30764A20CEE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0432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F0F17E-C680-1541-B7F6-30764A20CEE5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7878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/>
          </p:nvPr>
        </p:nvSpPr>
        <p:spPr/>
        <p:txBody>
          <a:bodyPr/>
          <a:lstStyle/>
          <a:p>
            <a:pPr>
              <a:defRPr/>
            </a:pPr>
            <a:fld id="{EC3EB7AF-6CB8-FA49-AA8E-85758DCC44D6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6647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/>
          </p:nvPr>
        </p:nvSpPr>
        <p:spPr/>
        <p:txBody>
          <a:bodyPr/>
          <a:lstStyle/>
          <a:p>
            <a:pPr>
              <a:defRPr/>
            </a:pPr>
            <a:fld id="{EC3EB7AF-6CB8-FA49-AA8E-85758DCC44D6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5626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F0F17E-C680-1541-B7F6-30764A20CEE5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0958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nl-NL" dirty="0" smtClean="0"/>
              <a:t>Klik om de ondertitelstijl van het model te bewerken</a:t>
            </a:r>
            <a:endParaRPr lang="nl-B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31BD07-8D0D-4DF6-97AA-769FE9E4A421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010018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5763EE-A886-42BF-AE80-5806E0189641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372198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8B639E-056A-49ED-A846-4CBE424C9247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376165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ubbel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594"/>
          </a:xfrm>
        </p:spPr>
        <p:txBody>
          <a:bodyPr/>
          <a:lstStyle>
            <a:lvl1pPr>
              <a:defRPr sz="3200">
                <a:latin typeface="Gill Sans MT" pitchFamily="34" charset="0"/>
              </a:defRPr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2"/>
          </p:nvPr>
        </p:nvSpPr>
        <p:spPr>
          <a:xfrm>
            <a:off x="500034" y="928670"/>
            <a:ext cx="8215341" cy="500066"/>
          </a:xfrm>
        </p:spPr>
        <p:txBody>
          <a:bodyPr/>
          <a:lstStyle>
            <a:lvl1pPr>
              <a:buNone/>
              <a:defRPr sz="2800" b="1">
                <a:solidFill>
                  <a:schemeClr val="accent2">
                    <a:lumMod val="75000"/>
                  </a:schemeClr>
                </a:solidFill>
                <a:latin typeface="Gill Sans MT" pitchFamily="34" charset="0"/>
              </a:defRPr>
            </a:lvl1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500062" y="1571612"/>
            <a:ext cx="8215341" cy="4357719"/>
          </a:xfrm>
        </p:spPr>
        <p:txBody>
          <a:bodyPr/>
          <a:lstStyle>
            <a:lvl1pPr>
              <a:defRPr sz="2800">
                <a:latin typeface="Gill Sans MT" pitchFamily="34" charset="0"/>
              </a:defRPr>
            </a:lvl1pPr>
            <a:lvl2pPr>
              <a:defRPr sz="2400">
                <a:latin typeface="Gill Sans MT" pitchFamily="34" charset="0"/>
              </a:defRPr>
            </a:lvl2pPr>
            <a:lvl3pPr>
              <a:defRPr sz="2000">
                <a:latin typeface="Gill Sans MT" pitchFamily="34" charset="0"/>
              </a:defRPr>
            </a:lvl3pPr>
            <a:lvl4pPr>
              <a:defRPr>
                <a:latin typeface="Gill Sans MT" pitchFamily="34" charset="0"/>
              </a:defRPr>
            </a:lvl4pPr>
            <a:lvl5pPr>
              <a:defRPr>
                <a:latin typeface="Gill Sans MT" pitchFamily="34" charset="0"/>
              </a:defRPr>
            </a:lvl5pPr>
          </a:lstStyle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AC3036-406D-44CD-9B71-99D474955C71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625669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ayou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0" y="609600"/>
            <a:ext cx="6783388" cy="639762"/>
          </a:xfrm>
          <a:prstGeom prst="rect">
            <a:avLst/>
          </a:prstGeom>
        </p:spPr>
        <p:txBody>
          <a:bodyPr lIns="101598" tIns="50798" rIns="101598" bIns="50798" anchor="t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980" b="1" i="0" cap="all">
                <a:solidFill>
                  <a:srgbClr val="79C915"/>
                </a:solidFill>
                <a:latin typeface="Arial"/>
                <a:cs typeface="Arial"/>
              </a:defRPr>
            </a:lvl1pPr>
            <a:lvl2pPr marL="457191" indent="0">
              <a:buNone/>
              <a:defRPr sz="1980" b="1"/>
            </a:lvl2pPr>
            <a:lvl3pPr marL="914382" indent="0">
              <a:buNone/>
              <a:defRPr sz="1800" b="1"/>
            </a:lvl3pPr>
            <a:lvl4pPr marL="1371573" indent="0">
              <a:buNone/>
              <a:defRPr sz="1620" b="1"/>
            </a:lvl4pPr>
            <a:lvl5pPr marL="1828764" indent="0">
              <a:buNone/>
              <a:defRPr sz="1620" b="1"/>
            </a:lvl5pPr>
            <a:lvl6pPr marL="2285955" indent="0">
              <a:buNone/>
              <a:defRPr sz="1620" b="1"/>
            </a:lvl6pPr>
            <a:lvl7pPr marL="2743146" indent="0">
              <a:buNone/>
              <a:defRPr sz="1620" b="1"/>
            </a:lvl7pPr>
            <a:lvl8pPr marL="3200336" indent="0">
              <a:buNone/>
              <a:defRPr sz="1620" b="1"/>
            </a:lvl8pPr>
            <a:lvl9pPr marL="3657526" indent="0">
              <a:buNone/>
              <a:defRPr sz="1620" b="1"/>
            </a:lvl9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</a:t>
            </a:r>
            <a:r>
              <a:rPr lang="pt-BR" noProof="0" dirty="0" smtClean="0"/>
              <a:t> </a:t>
            </a:r>
            <a:r>
              <a:rPr lang="pt-BR" noProof="0" dirty="0" err="1" smtClean="0"/>
              <a:t>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ext</a:t>
            </a:r>
            <a:r>
              <a:rPr lang="pt-BR" noProof="0" dirty="0" smtClean="0"/>
              <a:t> </a:t>
            </a:r>
            <a:r>
              <a:rPr lang="pt-BR" noProof="0" dirty="0" err="1" smtClean="0"/>
              <a:t>styles</a:t>
            </a:r>
            <a:endParaRPr lang="pt-BR" noProof="0" dirty="0" smtClean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0"/>
          </p:nvPr>
        </p:nvSpPr>
        <p:spPr>
          <a:xfrm>
            <a:off x="1828800" y="1752600"/>
            <a:ext cx="6783388" cy="4256088"/>
          </a:xfrm>
          <a:prstGeom prst="rect">
            <a:avLst/>
          </a:prstGeom>
        </p:spPr>
        <p:txBody>
          <a:bodyPr lIns="101598" tIns="50798" rIns="101598" bIns="50798"/>
          <a:lstStyle>
            <a:lvl1pPr>
              <a:buClr>
                <a:srgbClr val="FF8100"/>
              </a:buClr>
              <a:buSzPct val="80000"/>
              <a:defRPr sz="3240">
                <a:solidFill>
                  <a:srgbClr val="595959"/>
                </a:solidFill>
                <a:latin typeface="Arial"/>
                <a:cs typeface="Arial"/>
              </a:defRPr>
            </a:lvl1pPr>
            <a:lvl2pPr>
              <a:buFont typeface="Arial"/>
              <a:buChar char="•"/>
              <a:defRPr sz="3240">
                <a:solidFill>
                  <a:srgbClr val="595959"/>
                </a:solidFill>
                <a:latin typeface="Arial"/>
                <a:cs typeface="Arial"/>
              </a:defRPr>
            </a:lvl2pPr>
            <a:lvl3pPr>
              <a:buFont typeface="Lucida Grande"/>
              <a:buChar char="»"/>
              <a:defRPr sz="3240">
                <a:solidFill>
                  <a:srgbClr val="595959"/>
                </a:solidFill>
                <a:latin typeface="45 Helvetica Light"/>
                <a:cs typeface="45 Helvetica Light"/>
              </a:defRPr>
            </a:lvl3pPr>
            <a:lvl4pPr>
              <a:buFont typeface="Verdana"/>
              <a:buChar char="›"/>
              <a:defRPr sz="3240">
                <a:solidFill>
                  <a:srgbClr val="595959"/>
                </a:solidFill>
                <a:latin typeface="45 Helvetica Light"/>
                <a:cs typeface="45 Helvetica Light"/>
              </a:defRPr>
            </a:lvl4pPr>
            <a:lvl5pPr>
              <a:buFont typeface="Verdana"/>
              <a:buChar char="–"/>
              <a:defRPr sz="3240">
                <a:solidFill>
                  <a:srgbClr val="595959"/>
                </a:solidFill>
                <a:latin typeface="45 Helvetica Light"/>
                <a:cs typeface="45 Helvetica Light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712417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Layou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17"/>
          </p:nvPr>
        </p:nvSpPr>
        <p:spPr>
          <a:xfrm>
            <a:off x="1828800" y="1752600"/>
            <a:ext cx="3833037" cy="4408488"/>
          </a:xfrm>
          <a:prstGeom prst="rect">
            <a:avLst/>
          </a:prstGeom>
        </p:spPr>
        <p:txBody>
          <a:bodyPr lIns="101598" tIns="50798" rIns="101598" bIns="50798"/>
          <a:lstStyle>
            <a:lvl1pPr>
              <a:buClr>
                <a:srgbClr val="FF8100"/>
              </a:buClr>
              <a:buSzPct val="80000"/>
              <a:defRPr sz="3240">
                <a:solidFill>
                  <a:srgbClr val="595959"/>
                </a:solidFill>
                <a:latin typeface="Arial"/>
                <a:cs typeface="Arial"/>
              </a:defRPr>
            </a:lvl1pPr>
            <a:lvl2pPr>
              <a:buFont typeface="Arial"/>
              <a:buChar char="•"/>
              <a:defRPr sz="3240">
                <a:solidFill>
                  <a:srgbClr val="595959"/>
                </a:solidFill>
                <a:latin typeface="Arial"/>
                <a:cs typeface="Arial"/>
              </a:defRPr>
            </a:lvl2pPr>
            <a:lvl3pPr>
              <a:buFont typeface="Lucida Grande"/>
              <a:buChar char="»"/>
              <a:defRPr sz="3240">
                <a:solidFill>
                  <a:srgbClr val="595959"/>
                </a:solidFill>
                <a:latin typeface="45 Helvetica Light"/>
                <a:cs typeface="45 Helvetica Light"/>
              </a:defRPr>
            </a:lvl3pPr>
            <a:lvl4pPr>
              <a:buFont typeface="Verdana"/>
              <a:buChar char="›"/>
              <a:defRPr sz="3240">
                <a:solidFill>
                  <a:srgbClr val="595959"/>
                </a:solidFill>
                <a:latin typeface="45 Helvetica Light"/>
                <a:cs typeface="45 Helvetica Light"/>
              </a:defRPr>
            </a:lvl4pPr>
            <a:lvl5pPr>
              <a:buFont typeface="Verdana"/>
              <a:buChar char="–"/>
              <a:defRPr sz="3240">
                <a:solidFill>
                  <a:srgbClr val="595959"/>
                </a:solidFill>
                <a:latin typeface="45 Helvetica Light"/>
                <a:cs typeface="45 Helvetica Light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5804292" y="1752600"/>
            <a:ext cx="3352800" cy="4419600"/>
          </a:xfrm>
          <a:prstGeom prst="rect">
            <a:avLst/>
          </a:prstGeom>
        </p:spPr>
        <p:txBody>
          <a:bodyPr vert="horz" lIns="101598" tIns="50798" rIns="101598" bIns="50798"/>
          <a:lstStyle>
            <a:lvl1pPr>
              <a:defRPr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6"/>
          </p:nvPr>
        </p:nvSpPr>
        <p:spPr>
          <a:xfrm>
            <a:off x="1828800" y="609600"/>
            <a:ext cx="6783388" cy="639762"/>
          </a:xfrm>
          <a:prstGeom prst="rect">
            <a:avLst/>
          </a:prstGeom>
        </p:spPr>
        <p:txBody>
          <a:bodyPr lIns="101598" tIns="50798" rIns="101598" bIns="50798" anchor="t"/>
          <a:lstStyle>
            <a:lvl1pPr marL="0" indent="0">
              <a:buNone/>
              <a:defRPr sz="1980" b="1" i="0" cap="all">
                <a:solidFill>
                  <a:srgbClr val="79C915"/>
                </a:solidFill>
                <a:latin typeface="Arial"/>
                <a:cs typeface="Arial"/>
              </a:defRPr>
            </a:lvl1pPr>
            <a:lvl2pPr marL="457191" indent="0">
              <a:buNone/>
              <a:defRPr sz="1980" b="1"/>
            </a:lvl2pPr>
            <a:lvl3pPr marL="914382" indent="0">
              <a:buNone/>
              <a:defRPr sz="1800" b="1"/>
            </a:lvl3pPr>
            <a:lvl4pPr marL="1371573" indent="0">
              <a:buNone/>
              <a:defRPr sz="1620" b="1"/>
            </a:lvl4pPr>
            <a:lvl5pPr marL="1828764" indent="0">
              <a:buNone/>
              <a:defRPr sz="1620" b="1"/>
            </a:lvl5pPr>
            <a:lvl6pPr marL="2285955" indent="0">
              <a:buNone/>
              <a:defRPr sz="1620" b="1"/>
            </a:lvl6pPr>
            <a:lvl7pPr marL="2743146" indent="0">
              <a:buNone/>
              <a:defRPr sz="1620" b="1"/>
            </a:lvl7pPr>
            <a:lvl8pPr marL="3200336" indent="0">
              <a:buNone/>
              <a:defRPr sz="1620" b="1"/>
            </a:lvl8pPr>
            <a:lvl9pPr marL="3657526" indent="0">
              <a:buNone/>
              <a:defRPr sz="1620" b="1"/>
            </a:lvl9pPr>
          </a:lstStyle>
          <a:p>
            <a:pPr lvl="0"/>
            <a:r>
              <a:rPr lang="en-CA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36951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Layou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0" y="609600"/>
            <a:ext cx="6783388" cy="639762"/>
          </a:xfrm>
          <a:prstGeom prst="rect">
            <a:avLst/>
          </a:prstGeom>
        </p:spPr>
        <p:txBody>
          <a:bodyPr lIns="101598" tIns="50798" rIns="101598" bIns="50798" anchor="t"/>
          <a:lstStyle>
            <a:lvl1pPr marL="0" indent="0">
              <a:buNone/>
              <a:defRPr sz="1980" b="1" i="0" cap="all">
                <a:solidFill>
                  <a:srgbClr val="79C915"/>
                </a:solidFill>
                <a:latin typeface="Arial"/>
                <a:cs typeface="Arial"/>
              </a:defRPr>
            </a:lvl1pPr>
            <a:lvl2pPr marL="457191" indent="0">
              <a:buNone/>
              <a:defRPr sz="1980" b="1"/>
            </a:lvl2pPr>
            <a:lvl3pPr marL="914382" indent="0">
              <a:buNone/>
              <a:defRPr sz="1800" b="1"/>
            </a:lvl3pPr>
            <a:lvl4pPr marL="1371573" indent="0">
              <a:buNone/>
              <a:defRPr sz="1620" b="1"/>
            </a:lvl4pPr>
            <a:lvl5pPr marL="1828764" indent="0">
              <a:buNone/>
              <a:defRPr sz="1620" b="1"/>
            </a:lvl5pPr>
            <a:lvl6pPr marL="2285955" indent="0">
              <a:buNone/>
              <a:defRPr sz="1620" b="1"/>
            </a:lvl6pPr>
            <a:lvl7pPr marL="2743146" indent="0">
              <a:buNone/>
              <a:defRPr sz="1620" b="1"/>
            </a:lvl7pPr>
            <a:lvl8pPr marL="3200336" indent="0">
              <a:buNone/>
              <a:defRPr sz="1620" b="1"/>
            </a:lvl8pPr>
            <a:lvl9pPr marL="3657526" indent="0">
              <a:buNone/>
              <a:defRPr sz="1620" b="1"/>
            </a:lvl9pPr>
          </a:lstStyle>
          <a:p>
            <a:pPr lvl="0"/>
            <a:r>
              <a:rPr lang="pt-BR" noProof="0" dirty="0" smtClean="0"/>
              <a:t>Click </a:t>
            </a:r>
            <a:r>
              <a:rPr lang="pt-BR" noProof="0" dirty="0" err="1" smtClean="0"/>
              <a:t>toedit</a:t>
            </a:r>
            <a:r>
              <a:rPr lang="pt-BR" noProof="0" dirty="0" smtClean="0"/>
              <a:t> Master </a:t>
            </a:r>
            <a:r>
              <a:rPr lang="pt-BR" noProof="0" dirty="0" err="1" smtClean="0"/>
              <a:t>textstyles</a:t>
            </a:r>
            <a:endParaRPr lang="pt-BR" noProof="0" dirty="0" smtClean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0"/>
          </p:nvPr>
        </p:nvSpPr>
        <p:spPr>
          <a:xfrm>
            <a:off x="0" y="1356778"/>
            <a:ext cx="9144000" cy="4755823"/>
          </a:xfrm>
          <a:prstGeom prst="rect">
            <a:avLst/>
          </a:prstGeom>
        </p:spPr>
        <p:txBody>
          <a:bodyPr lIns="101598" tIns="50798" rIns="101598" bIns="50798"/>
          <a:lstStyle>
            <a:lvl1pPr>
              <a:buClr>
                <a:srgbClr val="FF8100"/>
              </a:buClr>
              <a:buSzPct val="80000"/>
              <a:defRPr sz="3240">
                <a:solidFill>
                  <a:srgbClr val="595959"/>
                </a:solidFill>
                <a:latin typeface="Arial"/>
                <a:cs typeface="Arial"/>
              </a:defRPr>
            </a:lvl1pPr>
            <a:lvl2pPr>
              <a:buFont typeface="Arial"/>
              <a:buChar char="•"/>
              <a:defRPr sz="3240">
                <a:solidFill>
                  <a:srgbClr val="595959"/>
                </a:solidFill>
                <a:latin typeface="Arial"/>
                <a:cs typeface="Arial"/>
              </a:defRPr>
            </a:lvl2pPr>
            <a:lvl3pPr>
              <a:buFont typeface="Lucida Grande"/>
              <a:buChar char="»"/>
              <a:defRPr sz="3240">
                <a:solidFill>
                  <a:srgbClr val="595959"/>
                </a:solidFill>
                <a:latin typeface="45 Helvetica Light"/>
                <a:cs typeface="45 Helvetica Light"/>
              </a:defRPr>
            </a:lvl3pPr>
            <a:lvl4pPr>
              <a:buFont typeface="Verdana"/>
              <a:buChar char="›"/>
              <a:defRPr sz="3240">
                <a:solidFill>
                  <a:srgbClr val="595959"/>
                </a:solidFill>
                <a:latin typeface="45 Helvetica Light"/>
                <a:cs typeface="45 Helvetica Light"/>
              </a:defRPr>
            </a:lvl4pPr>
            <a:lvl5pPr>
              <a:buFont typeface="Verdana"/>
              <a:buChar char="–"/>
              <a:defRPr sz="3240">
                <a:solidFill>
                  <a:srgbClr val="595959"/>
                </a:solidFill>
                <a:latin typeface="45 Helvetica Light"/>
                <a:cs typeface="45 Helvetica Light"/>
              </a:defRPr>
            </a:lvl5pPr>
            <a:lvl6pPr>
              <a:defRPr sz="1620"/>
            </a:lvl6pPr>
            <a:lvl7pPr>
              <a:defRPr sz="1620"/>
            </a:lvl7pPr>
            <a:lvl8pPr>
              <a:defRPr sz="1620"/>
            </a:lvl8pPr>
            <a:lvl9pPr>
              <a:defRPr sz="1620"/>
            </a:lvl9pPr>
          </a:lstStyle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8841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Layout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" y="1300655"/>
            <a:ext cx="9143999" cy="4805857"/>
          </a:xfrm>
          <a:prstGeom prst="rect">
            <a:avLst/>
          </a:prstGeom>
        </p:spPr>
        <p:txBody>
          <a:bodyPr lIns="106429" tIns="53213" rIns="106429" bIns="53213"/>
          <a:lstStyle>
            <a:lvl1pPr>
              <a:defRPr>
                <a:latin typeface="Arial"/>
                <a:cs typeface="Arial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6"/>
          </p:nvPr>
        </p:nvSpPr>
        <p:spPr>
          <a:xfrm>
            <a:off x="670035" y="609600"/>
            <a:ext cx="7942154" cy="639762"/>
          </a:xfrm>
          <a:prstGeom prst="rect">
            <a:avLst/>
          </a:prstGeom>
        </p:spPr>
        <p:txBody>
          <a:bodyPr lIns="106429" tIns="53213" rIns="106429" bIns="53213"/>
          <a:lstStyle>
            <a:lvl1pPr marL="0" indent="0">
              <a:buNone/>
              <a:defRPr sz="2070" b="1" i="0" cap="all">
                <a:solidFill>
                  <a:srgbClr val="79C915"/>
                </a:solidFill>
                <a:latin typeface="Arial"/>
                <a:cs typeface="Arial"/>
              </a:defRPr>
            </a:lvl1pPr>
            <a:lvl2pPr marL="478928" indent="0">
              <a:buNone/>
              <a:defRPr sz="2070" b="1"/>
            </a:lvl2pPr>
            <a:lvl3pPr marL="957857" indent="0">
              <a:buNone/>
              <a:defRPr sz="1890" b="1"/>
            </a:lvl3pPr>
            <a:lvl4pPr marL="1436784" indent="0">
              <a:buNone/>
              <a:defRPr sz="1710" b="1"/>
            </a:lvl4pPr>
            <a:lvl5pPr marL="1915713" indent="0">
              <a:buNone/>
              <a:defRPr sz="1710" b="1"/>
            </a:lvl5pPr>
            <a:lvl6pPr marL="2394641" indent="0">
              <a:buNone/>
              <a:defRPr sz="1710" b="1"/>
            </a:lvl6pPr>
            <a:lvl7pPr marL="2873570" indent="0">
              <a:buNone/>
              <a:defRPr sz="1710" b="1"/>
            </a:lvl7pPr>
            <a:lvl8pPr marL="3352496" indent="0">
              <a:buNone/>
              <a:defRPr sz="1710" b="1"/>
            </a:lvl8pPr>
            <a:lvl9pPr marL="3831423" indent="0">
              <a:buNone/>
              <a:defRPr sz="1710" b="1"/>
            </a:lvl9pPr>
          </a:lstStyle>
          <a:p>
            <a:pPr lvl="0"/>
            <a:r>
              <a:rPr lang="en-CA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663300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CA174B-BAB9-40DF-BB92-B67530A3DC86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079337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7CD94C-DB6E-4B35-BA00-E5C0D5C1C96A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00817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6E8041-AE65-43A7-909C-01CA58AE8A16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16889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2745DA-8627-46B1-BA80-52F8F1CB3BAD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649184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11FA89-A10D-49F4-AA1C-B052F8A7B8E9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67374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51297F-9B19-4505-B281-B8FF169FDDA9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47291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1E642A-7B3C-4AA9-9EB2-8D9EE7C69569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92882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dirty="0" smtClean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C43AE-08A0-4C3D-993F-AFAF0F10BB33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816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 smtClean="0"/>
              <a:t>Klik om het opmaakprofiel te bewerk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 smtClean="0"/>
              <a:t>Klik om de opmaakprofielen van de </a:t>
            </a:r>
            <a:r>
              <a:rPr lang="nl-NL" dirty="0" err="1" smtClean="0"/>
              <a:t>modeltekst</a:t>
            </a:r>
            <a:r>
              <a:rPr lang="nl-NL" dirty="0" smtClean="0"/>
              <a:t>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</a:p>
        </p:txBody>
      </p:sp>
      <p:sp>
        <p:nvSpPr>
          <p:cNvPr id="22221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2222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DE8023D-326D-4676-A609-3C696C23E36B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  <p:pic>
        <p:nvPicPr>
          <p:cNvPr id="1030" name="Picture 6" descr="logo_indea_cmyk 50%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9" y="6399396"/>
            <a:ext cx="758386" cy="274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893175" y="0"/>
            <a:ext cx="250825" cy="68580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nl-BE" dirty="0"/>
          </a:p>
        </p:txBody>
      </p:sp>
      <p:pic>
        <p:nvPicPr>
          <p:cNvPr id="2" name="Afbeelding 1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144150" y="6431144"/>
            <a:ext cx="915317" cy="29961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9" r:id="rId1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fol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Gill Sans M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Gill Sans M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Gill Sans M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Gill Sans MT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Gill Sans MT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Gill Sans MT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Gill Sans MT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Gill Sans M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2000">
          <a:solidFill>
            <a:srgbClr val="1A375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2000">
          <a:solidFill>
            <a:srgbClr val="1A375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800">
          <a:solidFill>
            <a:srgbClr val="1A375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–"/>
        <a:defRPr sz="1800">
          <a:solidFill>
            <a:srgbClr val="1A375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»"/>
        <a:defRPr sz="1800">
          <a:solidFill>
            <a:srgbClr val="1A375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Char char="»"/>
        <a:defRPr sz="2000">
          <a:solidFill>
            <a:srgbClr val="1A375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Char char="»"/>
        <a:defRPr sz="2000">
          <a:solidFill>
            <a:srgbClr val="1A375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Char char="»"/>
        <a:defRPr sz="2000">
          <a:solidFill>
            <a:srgbClr val="1A375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Char char="»"/>
        <a:defRPr sz="2000">
          <a:solidFill>
            <a:srgbClr val="1A3750"/>
          </a:solidFill>
          <a:latin typeface="+mn-lt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diagramLayout" Target="../diagrams/layout3.xml"/><Relationship Id="rId26" Type="http://schemas.microsoft.com/office/2007/relationships/diagramDrawing" Target="../diagrams/drawing4.xml"/><Relationship Id="rId3" Type="http://schemas.openxmlformats.org/officeDocument/2006/relationships/tags" Target="../tags/tag4.xml"/><Relationship Id="rId21" Type="http://schemas.microsoft.com/office/2007/relationships/diagramDrawing" Target="../diagrams/drawing3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diagramData" Target="../diagrams/data3.xml"/><Relationship Id="rId25" Type="http://schemas.openxmlformats.org/officeDocument/2006/relationships/diagramColors" Target="../diagrams/colors4.xml"/><Relationship Id="rId33" Type="http://schemas.openxmlformats.org/officeDocument/2006/relationships/image" Target="../media/image25.emf"/><Relationship Id="rId2" Type="http://schemas.openxmlformats.org/officeDocument/2006/relationships/tags" Target="../tags/tag3.xml"/><Relationship Id="rId16" Type="http://schemas.openxmlformats.org/officeDocument/2006/relationships/notesSlide" Target="../notesSlides/notesSlide6.xml"/><Relationship Id="rId20" Type="http://schemas.openxmlformats.org/officeDocument/2006/relationships/diagramColors" Target="../diagrams/colors3.xml"/><Relationship Id="rId29" Type="http://schemas.openxmlformats.org/officeDocument/2006/relationships/diagramQuickStyle" Target="../diagrams/quickStyle5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diagramQuickStyle" Target="../diagrams/quickStyle4.xml"/><Relationship Id="rId32" Type="http://schemas.openxmlformats.org/officeDocument/2006/relationships/image" Target="../media/image24.png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3.xml"/><Relationship Id="rId23" Type="http://schemas.openxmlformats.org/officeDocument/2006/relationships/diagramLayout" Target="../diagrams/layout4.xml"/><Relationship Id="rId28" Type="http://schemas.openxmlformats.org/officeDocument/2006/relationships/diagramLayout" Target="../diagrams/layout5.xml"/><Relationship Id="rId10" Type="http://schemas.openxmlformats.org/officeDocument/2006/relationships/tags" Target="../tags/tag11.xml"/><Relationship Id="rId19" Type="http://schemas.openxmlformats.org/officeDocument/2006/relationships/diagramQuickStyle" Target="../diagrams/quickStyle3.xml"/><Relationship Id="rId31" Type="http://schemas.microsoft.com/office/2007/relationships/diagramDrawing" Target="../diagrams/drawing5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diagramData" Target="../diagrams/data4.xml"/><Relationship Id="rId27" Type="http://schemas.openxmlformats.org/officeDocument/2006/relationships/diagramData" Target="../diagrams/data5.xml"/><Relationship Id="rId30" Type="http://schemas.openxmlformats.org/officeDocument/2006/relationships/diagramColors" Target="../diagrams/colors5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notesSlide" Target="../notesSlides/notesSlide7.xml"/><Relationship Id="rId7" Type="http://schemas.openxmlformats.org/officeDocument/2006/relationships/diagramColors" Target="../diagrams/colors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Relationship Id="rId9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diagramLayout" Target="../diagrams/layout7.xml"/><Relationship Id="rId18" Type="http://schemas.openxmlformats.org/officeDocument/2006/relationships/chart" Target="../charts/chart2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diagramData" Target="../diagrams/data7.xml"/><Relationship Id="rId17" Type="http://schemas.openxmlformats.org/officeDocument/2006/relationships/chart" Target="../charts/chart1.xml"/><Relationship Id="rId2" Type="http://schemas.openxmlformats.org/officeDocument/2006/relationships/tags" Target="../tags/tag18.xml"/><Relationship Id="rId16" Type="http://schemas.microsoft.com/office/2007/relationships/diagramDrawing" Target="../diagrams/drawing7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27.png"/><Relationship Id="rId5" Type="http://schemas.openxmlformats.org/officeDocument/2006/relationships/tags" Target="../tags/tag21.xml"/><Relationship Id="rId15" Type="http://schemas.openxmlformats.org/officeDocument/2006/relationships/diagramColors" Target="../diagrams/colors7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16.xml"/><Relationship Id="rId14" Type="http://schemas.openxmlformats.org/officeDocument/2006/relationships/diagramQuickStyle" Target="../diagrams/quickStyle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image" Target="../media/image28.jpeg"/><Relationship Id="rId7" Type="http://schemas.openxmlformats.org/officeDocument/2006/relationships/diagramData" Target="../diagrams/data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5.xml"/><Relationship Id="rId6" Type="http://schemas.microsoft.com/office/2007/relationships/hdphoto" Target="../media/hdphoto1.wdp"/><Relationship Id="rId11" Type="http://schemas.microsoft.com/office/2007/relationships/diagramDrawing" Target="../diagrams/drawing8.xml"/><Relationship Id="rId5" Type="http://schemas.openxmlformats.org/officeDocument/2006/relationships/image" Target="../media/image30.jpeg"/><Relationship Id="rId10" Type="http://schemas.openxmlformats.org/officeDocument/2006/relationships/diagramColors" Target="../diagrams/colors8.xml"/><Relationship Id="rId4" Type="http://schemas.openxmlformats.org/officeDocument/2006/relationships/image" Target="../media/image29.jpeg"/><Relationship Id="rId9" Type="http://schemas.openxmlformats.org/officeDocument/2006/relationships/diagramQuickStyle" Target="../diagrams/quickStyle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0.xml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12" Type="http://schemas.microsoft.com/office/2007/relationships/diagramDrawing" Target="../diagrams/drawing1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6" Type="http://schemas.openxmlformats.org/officeDocument/2006/relationships/diagramColors" Target="../diagrams/colors9.xml"/><Relationship Id="rId11" Type="http://schemas.openxmlformats.org/officeDocument/2006/relationships/diagramColors" Target="../diagrams/colors10.xml"/><Relationship Id="rId5" Type="http://schemas.openxmlformats.org/officeDocument/2006/relationships/diagramQuickStyle" Target="../diagrams/quickStyle9.xml"/><Relationship Id="rId10" Type="http://schemas.openxmlformats.org/officeDocument/2006/relationships/diagramQuickStyle" Target="../diagrams/quickStyle10.xml"/><Relationship Id="rId4" Type="http://schemas.openxmlformats.org/officeDocument/2006/relationships/diagramLayout" Target="../diagrams/layout9.xml"/><Relationship Id="rId9" Type="http://schemas.openxmlformats.org/officeDocument/2006/relationships/diagramLayout" Target="../diagrams/layout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2.xml"/><Relationship Id="rId3" Type="http://schemas.openxmlformats.org/officeDocument/2006/relationships/image" Target="../media/image32.emf"/><Relationship Id="rId7" Type="http://schemas.openxmlformats.org/officeDocument/2006/relationships/diagramQuickStyle" Target="../diagrams/quickStyl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8.xml"/><Relationship Id="rId6" Type="http://schemas.openxmlformats.org/officeDocument/2006/relationships/diagramLayout" Target="../diagrams/layout12.xml"/><Relationship Id="rId5" Type="http://schemas.openxmlformats.org/officeDocument/2006/relationships/diagramData" Target="../diagrams/data12.xml"/><Relationship Id="rId4" Type="http://schemas.openxmlformats.org/officeDocument/2006/relationships/image" Target="../media/image33.emf"/><Relationship Id="rId9" Type="http://schemas.microsoft.com/office/2007/relationships/diagramDrawing" Target="../diagrams/drawing12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34.png"/><Relationship Id="rId7" Type="http://schemas.openxmlformats.org/officeDocument/2006/relationships/diagramColors" Target="../diagrams/colors1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9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10" Type="http://schemas.openxmlformats.org/officeDocument/2006/relationships/image" Target="../media/image36.png"/><Relationship Id="rId4" Type="http://schemas.openxmlformats.org/officeDocument/2006/relationships/diagramData" Target="../diagrams/data13.xml"/><Relationship Id="rId9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notesSlide" Target="../notesSlides/notesSlide9.xml"/><Relationship Id="rId7" Type="http://schemas.openxmlformats.org/officeDocument/2006/relationships/diagramColors" Target="../diagrams/colors1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0.xml"/><Relationship Id="rId6" Type="http://schemas.openxmlformats.org/officeDocument/2006/relationships/diagramQuickStyle" Target="../diagrams/quickStyle14.xml"/><Relationship Id="rId11" Type="http://schemas.openxmlformats.org/officeDocument/2006/relationships/image" Target="../media/image39.png"/><Relationship Id="rId5" Type="http://schemas.openxmlformats.org/officeDocument/2006/relationships/diagramLayout" Target="../diagrams/layout14.xml"/><Relationship Id="rId10" Type="http://schemas.openxmlformats.org/officeDocument/2006/relationships/image" Target="../media/image38.tiff"/><Relationship Id="rId4" Type="http://schemas.openxmlformats.org/officeDocument/2006/relationships/diagramData" Target="../diagrams/data14.xml"/><Relationship Id="rId9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3" Type="http://schemas.openxmlformats.org/officeDocument/2006/relationships/image" Target="../media/image40.jpeg"/><Relationship Id="rId7" Type="http://schemas.openxmlformats.org/officeDocument/2006/relationships/diagramColors" Target="../diagrams/colors1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1.xml"/><Relationship Id="rId6" Type="http://schemas.openxmlformats.org/officeDocument/2006/relationships/diagramQuickStyle" Target="../diagrams/quickStyle15.xml"/><Relationship Id="rId5" Type="http://schemas.openxmlformats.org/officeDocument/2006/relationships/diagramLayout" Target="../diagrams/layout15.xml"/><Relationship Id="rId4" Type="http://schemas.openxmlformats.org/officeDocument/2006/relationships/diagramData" Target="../diagrams/data15.xml"/><Relationship Id="rId9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6.xml"/><Relationship Id="rId3" Type="http://schemas.openxmlformats.org/officeDocument/2006/relationships/image" Target="../media/image42.gif"/><Relationship Id="rId7" Type="http://schemas.openxmlformats.org/officeDocument/2006/relationships/diagramLayout" Target="../diagrams/layout1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2.xml"/><Relationship Id="rId6" Type="http://schemas.openxmlformats.org/officeDocument/2006/relationships/diagramData" Target="../diagrams/data16.xml"/><Relationship Id="rId5" Type="http://schemas.openxmlformats.org/officeDocument/2006/relationships/image" Target="../media/image44.emf"/><Relationship Id="rId10" Type="http://schemas.microsoft.com/office/2007/relationships/diagramDrawing" Target="../diagrams/drawing16.xml"/><Relationship Id="rId4" Type="http://schemas.openxmlformats.org/officeDocument/2006/relationships/image" Target="../media/image43.emf"/><Relationship Id="rId9" Type="http://schemas.openxmlformats.org/officeDocument/2006/relationships/diagramColors" Target="../diagrams/colors1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7.xml"/><Relationship Id="rId3" Type="http://schemas.openxmlformats.org/officeDocument/2006/relationships/slideLayout" Target="../slideLayouts/slideLayout16.xml"/><Relationship Id="rId7" Type="http://schemas.openxmlformats.org/officeDocument/2006/relationships/diagramLayout" Target="../diagrams/layout17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diagramData" Target="../diagrams/data17.xml"/><Relationship Id="rId5" Type="http://schemas.openxmlformats.org/officeDocument/2006/relationships/image" Target="../media/image46.jpeg"/><Relationship Id="rId10" Type="http://schemas.microsoft.com/office/2007/relationships/diagramDrawing" Target="../diagrams/drawing17.xml"/><Relationship Id="rId4" Type="http://schemas.openxmlformats.org/officeDocument/2006/relationships/image" Target="../media/image45.png"/><Relationship Id="rId9" Type="http://schemas.openxmlformats.org/officeDocument/2006/relationships/diagramColors" Target="../diagrams/colors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8.xml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5.png"/><Relationship Id="rId12" Type="http://schemas.microsoft.com/office/2007/relationships/diagramDrawing" Target="../diagrams/drawing18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47.png"/><Relationship Id="rId11" Type="http://schemas.openxmlformats.org/officeDocument/2006/relationships/diagramColors" Target="../diagrams/colors18.xml"/><Relationship Id="rId5" Type="http://schemas.openxmlformats.org/officeDocument/2006/relationships/image" Target="../media/image45.png"/><Relationship Id="rId10" Type="http://schemas.openxmlformats.org/officeDocument/2006/relationships/diagramQuickStyle" Target="../diagrams/quickStyle18.xml"/><Relationship Id="rId4" Type="http://schemas.openxmlformats.org/officeDocument/2006/relationships/image" Target="../media/image42.gif"/><Relationship Id="rId9" Type="http://schemas.openxmlformats.org/officeDocument/2006/relationships/diagramLayout" Target="../diagrams/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dea.be/" TargetMode="External"/><Relationship Id="rId2" Type="http://schemas.openxmlformats.org/officeDocument/2006/relationships/hyperlink" Target="mailto:valerie.degroote@indea.be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tiff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emf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11.jpeg"/><Relationship Id="rId7" Type="http://schemas.openxmlformats.org/officeDocument/2006/relationships/diagramLayout" Target="../diagrams/layou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1.xml"/><Relationship Id="rId5" Type="http://schemas.openxmlformats.org/officeDocument/2006/relationships/image" Target="../media/image13.jpeg"/><Relationship Id="rId10" Type="http://schemas.microsoft.com/office/2007/relationships/diagramDrawing" Target="../diagrams/drawing1.xml"/><Relationship Id="rId4" Type="http://schemas.openxmlformats.org/officeDocument/2006/relationships/image" Target="../media/image12.jpg"/><Relationship Id="rId9" Type="http://schemas.openxmlformats.org/officeDocument/2006/relationships/diagramColors" Target="../diagrams/colors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4.jp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61533" y="2130425"/>
            <a:ext cx="6679118" cy="1470025"/>
          </a:xfrm>
        </p:spPr>
        <p:txBody>
          <a:bodyPr/>
          <a:lstStyle/>
          <a:p>
            <a:pPr algn="r" eaLnBrk="1" hangingPunct="1">
              <a:lnSpc>
                <a:spcPct val="90000"/>
              </a:lnSpc>
            </a:pPr>
            <a:r>
              <a:rPr lang="nl-BE" sz="4000" dirty="0" smtClean="0"/>
              <a:t>Participatief project</a:t>
            </a:r>
            <a:br>
              <a:rPr lang="nl-BE" sz="4000" dirty="0" smtClean="0"/>
            </a:br>
            <a:r>
              <a:rPr lang="nl-BE" sz="4000" dirty="0" err="1" smtClean="0"/>
              <a:t>ENERGYmaestro</a:t>
            </a:r>
            <a:r>
              <a:rPr lang="nl-BE" sz="4000" dirty="0" smtClean="0"/>
              <a:t> bij</a:t>
            </a:r>
            <a:br>
              <a:rPr lang="nl-BE" sz="4000" dirty="0" smtClean="0"/>
            </a:br>
            <a:r>
              <a:rPr lang="nl-BE" sz="4000" dirty="0" err="1" smtClean="0"/>
              <a:t>Prayon</a:t>
            </a:r>
            <a:endParaRPr lang="nl-NL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3" y="3886200"/>
            <a:ext cx="7088187" cy="2063136"/>
          </a:xfrm>
        </p:spPr>
        <p:txBody>
          <a:bodyPr/>
          <a:lstStyle/>
          <a:p>
            <a:pPr algn="r" eaLnBrk="1" hangingPunct="1">
              <a:lnSpc>
                <a:spcPct val="90000"/>
              </a:lnSpc>
            </a:pPr>
            <a:r>
              <a:rPr lang="nl-BE" dirty="0" smtClean="0"/>
              <a:t>Energiezorg in de industrie</a:t>
            </a:r>
          </a:p>
          <a:p>
            <a:pPr algn="r" eaLnBrk="1" hangingPunct="1">
              <a:lnSpc>
                <a:spcPct val="90000"/>
              </a:lnSpc>
            </a:pPr>
            <a:r>
              <a:rPr lang="nl-BE" dirty="0" err="1" smtClean="0"/>
              <a:t>Energik</a:t>
            </a:r>
            <a:r>
              <a:rPr lang="nl-BE" dirty="0" smtClean="0"/>
              <a:t> – 3 mei 2017</a:t>
            </a:r>
          </a:p>
          <a:p>
            <a:pPr algn="r" eaLnBrk="1" hangingPunct="1">
              <a:lnSpc>
                <a:spcPct val="90000"/>
              </a:lnSpc>
            </a:pPr>
            <a:endParaRPr lang="nl-BE" dirty="0" smtClean="0"/>
          </a:p>
          <a:p>
            <a:pPr algn="r" eaLnBrk="1" hangingPunct="1">
              <a:lnSpc>
                <a:spcPct val="90000"/>
              </a:lnSpc>
            </a:pPr>
            <a:r>
              <a:rPr lang="nl-BE" sz="1800" dirty="0" smtClean="0"/>
              <a:t>Valérie de Groote - INDEA</a:t>
            </a:r>
            <a:endParaRPr lang="nl-NL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hoek 13"/>
          <p:cNvSpPr/>
          <p:nvPr/>
        </p:nvSpPr>
        <p:spPr bwMode="auto">
          <a:xfrm>
            <a:off x="6610516" y="6008688"/>
            <a:ext cx="1467015" cy="744951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nl-BE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3. MINDSET EN VAARDIGHEDEN:</a:t>
            </a:r>
            <a:r>
              <a:rPr lang="nl-BE" dirty="0"/>
              <a:t/>
            </a:r>
            <a:br>
              <a:rPr lang="nl-BE" dirty="0"/>
            </a:br>
            <a:r>
              <a:rPr lang="nl-BE" dirty="0" smtClean="0"/>
              <a:t>betrekken </a:t>
            </a:r>
            <a:r>
              <a:rPr lang="nl-BE" dirty="0"/>
              <a:t>en </a:t>
            </a:r>
            <a:r>
              <a:rPr lang="nl-BE" dirty="0" smtClean="0"/>
              <a:t>opleiden </a:t>
            </a:r>
            <a:r>
              <a:rPr lang="nl-BE" dirty="0"/>
              <a:t>van operator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Oval 4"/>
          <p:cNvSpPr>
            <a:spLocks noChangeAspect="1"/>
          </p:cNvSpPr>
          <p:nvPr/>
        </p:nvSpPr>
        <p:spPr bwMode="auto">
          <a:xfrm>
            <a:off x="6214104" y="3486594"/>
            <a:ext cx="1932247" cy="1785494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1148" rIns="0" bIns="411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Geen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verantwoorde-lijkheid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zonder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 </a:t>
            </a:r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bevoegdheid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om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actie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te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nemen</a:t>
            </a:r>
            <a:endParaRPr lang="en-US" sz="1620" dirty="0">
              <a:solidFill>
                <a:srgbClr val="40404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6" name="Oval 5"/>
          <p:cNvSpPr>
            <a:spLocks noChangeAspect="1"/>
          </p:cNvSpPr>
          <p:nvPr/>
        </p:nvSpPr>
        <p:spPr bwMode="auto">
          <a:xfrm>
            <a:off x="6470092" y="1342740"/>
            <a:ext cx="1779195" cy="1781996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1148" rIns="0" bIns="411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2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Focus op </a:t>
            </a:r>
            <a:r>
              <a:rPr lang="en-US" sz="162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optimaliseren</a:t>
            </a:r>
            <a:r>
              <a:rPr lang="en-US" sz="162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winst</a:t>
            </a:r>
            <a:r>
              <a:rPr lang="en-US" sz="162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in </a:t>
            </a:r>
            <a:r>
              <a:rPr lang="en-US" sz="162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plaats</a:t>
            </a:r>
            <a:r>
              <a:rPr lang="en-US" sz="162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van </a:t>
            </a:r>
            <a:r>
              <a:rPr lang="en-US" sz="162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productie</a:t>
            </a:r>
            <a:endParaRPr lang="en-US" sz="162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474391" y="4513928"/>
            <a:ext cx="1976400" cy="131628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 rot="189300">
            <a:off x="2447496" y="2092085"/>
            <a:ext cx="1976400" cy="131535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sp>
        <p:nvSpPr>
          <p:cNvPr id="9" name="Oval 8"/>
          <p:cNvSpPr>
            <a:spLocks noChangeAspect="1"/>
          </p:cNvSpPr>
          <p:nvPr/>
        </p:nvSpPr>
        <p:spPr>
          <a:xfrm>
            <a:off x="4400550" y="1471612"/>
            <a:ext cx="2300288" cy="2268403"/>
          </a:xfrm>
          <a:prstGeom prst="ellipse">
            <a:avLst/>
          </a:prstGeom>
          <a:solidFill>
            <a:srgbClr val="00A4C8"/>
          </a:solidFill>
          <a:ln>
            <a:noFill/>
          </a:ln>
        </p:spPr>
        <p:txBody>
          <a:bodyPr rot="0" spcFirstLastPara="0" vertOverflow="overflow" horzOverflow="overflow" vert="horz" wrap="square" lIns="0" tIns="41148" rIns="0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2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Management </a:t>
            </a:r>
            <a:r>
              <a:rPr lang="en-US" sz="162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heeft</a:t>
            </a:r>
            <a:r>
              <a:rPr lang="en-US" sz="162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algemeen</a:t>
            </a:r>
            <a:r>
              <a:rPr lang="en-US" sz="162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overzicht</a:t>
            </a:r>
            <a:r>
              <a:rPr lang="en-US" sz="162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met focus op </a:t>
            </a:r>
            <a:r>
              <a:rPr lang="en-US" sz="162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kostenbeheersing</a:t>
            </a:r>
            <a:endParaRPr lang="en-US" sz="1620" dirty="0">
              <a:solidFill>
                <a:schemeClr val="bg1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0" name="Oval 9"/>
          <p:cNvSpPr>
            <a:spLocks noChangeAspect="1"/>
          </p:cNvSpPr>
          <p:nvPr/>
        </p:nvSpPr>
        <p:spPr bwMode="auto">
          <a:xfrm>
            <a:off x="6271181" y="5204435"/>
            <a:ext cx="1579388" cy="1587596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1148" rIns="0" bIns="411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Geen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actie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zonder</a:t>
            </a:r>
            <a:r>
              <a:rPr lang="en-US" sz="1620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b="1" dirty="0" err="1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bruikbare</a:t>
            </a:r>
            <a:r>
              <a:rPr lang="en-US" sz="1620" b="1" dirty="0">
                <a:solidFill>
                  <a:srgbClr val="40404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parameter</a:t>
            </a: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4688237" y="4324352"/>
            <a:ext cx="1847561" cy="1849471"/>
          </a:xfrm>
          <a:prstGeom prst="ellipse">
            <a:avLst/>
          </a:prstGeom>
          <a:solidFill>
            <a:srgbClr val="00A4C8"/>
          </a:solidFill>
          <a:ln>
            <a:noFill/>
          </a:ln>
        </p:spPr>
        <p:txBody>
          <a:bodyPr rot="0" spcFirstLastPara="0" vertOverflow="overflow" horzOverflow="overflow" vert="horz" wrap="square" lIns="0" tIns="41148" rIns="0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2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Finale </a:t>
            </a:r>
            <a:r>
              <a:rPr lang="en-US" sz="162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beslissing</a:t>
            </a:r>
            <a:r>
              <a:rPr lang="en-US" sz="162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in </a:t>
            </a:r>
            <a:r>
              <a:rPr lang="en-US" sz="162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controlekamer</a:t>
            </a:r>
            <a:r>
              <a:rPr lang="en-US" sz="162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dankzij</a:t>
            </a:r>
            <a:r>
              <a:rPr lang="en-US" sz="162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relatieve</a:t>
            </a:r>
            <a:r>
              <a:rPr lang="en-US" sz="162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sz="162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doelen</a:t>
            </a:r>
            <a:endParaRPr lang="en-US" sz="1620" b="1" dirty="0">
              <a:solidFill>
                <a:schemeClr val="bg1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2" name="AutoShape 12"/>
          <p:cNvSpPr>
            <a:spLocks noChangeArrowheads="1"/>
          </p:cNvSpPr>
          <p:nvPr/>
        </p:nvSpPr>
        <p:spPr bwMode="auto">
          <a:xfrm rot="16200000">
            <a:off x="-23879" y="3877842"/>
            <a:ext cx="3737369" cy="545428"/>
          </a:xfrm>
          <a:prstGeom prst="leftArrow">
            <a:avLst>
              <a:gd name="adj1" fmla="val 61537"/>
              <a:gd name="adj2" fmla="val 76145"/>
            </a:avLst>
          </a:prstGeom>
          <a:solidFill>
            <a:srgbClr val="5F5F5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9050">
                <a:solidFill>
                  <a:srgbClr val="000000"/>
                </a:solidFill>
                <a:miter lim="800000"/>
                <a:headEnd/>
                <a:tailEnd type="none" w="lg" len="lg"/>
              </a14:hiddenLine>
            </a:ext>
          </a:extLst>
        </p:spPr>
        <p:txBody>
          <a:bodyPr wrap="none" lIns="91439" tIns="45719" rIns="91439" bIns="45719"/>
          <a:lstStyle/>
          <a:p>
            <a:r>
              <a:rPr lang="en-US" sz="1260" b="1" dirty="0" err="1">
                <a:solidFill>
                  <a:schemeClr val="bg1"/>
                </a:solidFill>
                <a:latin typeface="Arial"/>
                <a:ea typeface="ヒラギノ角ゴ ProN W3" charset="0"/>
                <a:cs typeface="Arial"/>
              </a:rPr>
              <a:t>Operatoren</a:t>
            </a:r>
            <a:r>
              <a:rPr lang="en-US" sz="1260" b="1" dirty="0">
                <a:solidFill>
                  <a:schemeClr val="bg1"/>
                </a:solidFill>
                <a:latin typeface="Arial"/>
                <a:ea typeface="ヒラギノ角ゴ ProN W3" charset="0"/>
                <a:cs typeface="Arial"/>
              </a:rPr>
              <a:t>   </a:t>
            </a:r>
            <a:r>
              <a:rPr lang="en-US" sz="1260" b="1" dirty="0" err="1">
                <a:solidFill>
                  <a:schemeClr val="bg1"/>
                </a:solidFill>
                <a:latin typeface="Arial"/>
                <a:ea typeface="ヒラギノ角ゴ ProN W3" charset="0"/>
                <a:cs typeface="Arial"/>
              </a:rPr>
              <a:t>Meestergasten</a:t>
            </a:r>
            <a:r>
              <a:rPr lang="en-US" sz="1260" b="1" dirty="0">
                <a:solidFill>
                  <a:schemeClr val="bg1"/>
                </a:solidFill>
                <a:latin typeface="Arial"/>
                <a:ea typeface="ヒラギノ角ゴ ProN W3" charset="0"/>
                <a:cs typeface="Arial"/>
              </a:rPr>
              <a:t>   Management</a:t>
            </a:r>
          </a:p>
        </p:txBody>
      </p:sp>
      <p:sp>
        <p:nvSpPr>
          <p:cNvPr id="13" name="Up Arrow 12"/>
          <p:cNvSpPr/>
          <p:nvPr/>
        </p:nvSpPr>
        <p:spPr bwMode="auto">
          <a:xfrm>
            <a:off x="1241714" y="1880943"/>
            <a:ext cx="543404" cy="3738533"/>
          </a:xfrm>
          <a:prstGeom prst="upArrow">
            <a:avLst>
              <a:gd name="adj1" fmla="val 65107"/>
              <a:gd name="adj2" fmla="val 74551"/>
            </a:avLst>
          </a:pr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lIns="91439" tIns="45719" rIns="91439" bIns="45719" anchor="ctr"/>
          <a:lstStyle/>
          <a:p>
            <a:pPr algn="ctr">
              <a:defRPr/>
            </a:pPr>
            <a:r>
              <a:rPr lang="en-US" sz="1260" b="1" dirty="0">
                <a:latin typeface="Arial"/>
                <a:ea typeface="ヒラギノ角ゴ ProN W3" pitchFamily="-109" charset="-128"/>
                <a:cs typeface="Arial"/>
                <a:sym typeface="Arial" pitchFamily="-109" charset="0"/>
              </a:rPr>
              <a:t>Impact van de </a:t>
            </a:r>
            <a:r>
              <a:rPr lang="en-US" sz="1260" b="1" dirty="0" err="1">
                <a:latin typeface="Arial"/>
                <a:ea typeface="ヒラギノ角ゴ ProN W3" pitchFamily="-109" charset="-128"/>
                <a:cs typeface="Arial"/>
                <a:sym typeface="Arial" pitchFamily="-109" charset="0"/>
              </a:rPr>
              <a:t>beslissing</a:t>
            </a:r>
            <a:r>
              <a:rPr lang="en-US" sz="1260" b="1" dirty="0">
                <a:latin typeface="Arial"/>
                <a:ea typeface="ヒラギノ角ゴ ProN W3" pitchFamily="-109" charset="-128"/>
                <a:cs typeface="Arial"/>
                <a:sym typeface="Arial" pitchFamily="-109" charset="0"/>
              </a:rPr>
              <a:t> op </a:t>
            </a:r>
            <a:r>
              <a:rPr lang="en-US" sz="1260" b="1" dirty="0" err="1">
                <a:latin typeface="Arial"/>
                <a:ea typeface="ヒラギノ角ゴ ProN W3" pitchFamily="-109" charset="-128"/>
                <a:cs typeface="Arial"/>
                <a:sym typeface="Arial" pitchFamily="-109" charset="0"/>
              </a:rPr>
              <a:t>energiekosten</a:t>
            </a:r>
            <a:endParaRPr lang="en-US" sz="1260" b="1" dirty="0">
              <a:latin typeface="Arial"/>
              <a:ea typeface="ヒラギノ角ゴ ProN W3" pitchFamily="-109" charset="-128"/>
              <a:cs typeface="Arial"/>
              <a:sym typeface="Arial" pitchFamily="-10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60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/>
        </p:nvSpPr>
        <p:spPr bwMode="auto">
          <a:xfrm>
            <a:off x="6610516" y="6008688"/>
            <a:ext cx="1467015" cy="744951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nl-BE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124876" y="338138"/>
            <a:ext cx="8790524" cy="639762"/>
          </a:xfrm>
        </p:spPr>
        <p:txBody>
          <a:bodyPr/>
          <a:lstStyle/>
          <a:p>
            <a:r>
              <a:rPr lang="en-US" sz="2160" dirty="0" err="1"/>
              <a:t>GEEn</a:t>
            </a:r>
            <a:r>
              <a:rPr lang="en-US" sz="2160" dirty="0"/>
              <a:t> </a:t>
            </a:r>
            <a:r>
              <a:rPr lang="en-US" sz="2160" dirty="0" err="1"/>
              <a:t>verantwoordelijkheden</a:t>
            </a:r>
            <a:r>
              <a:rPr lang="en-US" sz="2160" dirty="0"/>
              <a:t> </a:t>
            </a:r>
            <a:r>
              <a:rPr lang="en-US" sz="2160" dirty="0">
                <a:sym typeface="Wingdings"/>
              </a:rPr>
              <a:t> </a:t>
            </a:r>
            <a:r>
              <a:rPr lang="en-US" sz="2160" dirty="0" err="1">
                <a:sym typeface="Wingdings"/>
              </a:rPr>
              <a:t>geen</a:t>
            </a:r>
            <a:r>
              <a:rPr lang="en-US" sz="2160" dirty="0">
                <a:sym typeface="Wingdings"/>
              </a:rPr>
              <a:t> </a:t>
            </a:r>
            <a:r>
              <a:rPr lang="en-US" sz="2160" dirty="0" err="1">
                <a:sym typeface="Wingdings"/>
              </a:rPr>
              <a:t>resultaten</a:t>
            </a:r>
            <a:endParaRPr lang="en-US" sz="2160" dirty="0">
              <a:sym typeface="Wingdings"/>
            </a:endParaRPr>
          </a:p>
          <a:p>
            <a:r>
              <a:rPr lang="en-US" sz="2160" dirty="0" err="1"/>
              <a:t>Geen</a:t>
            </a:r>
            <a:r>
              <a:rPr lang="en-US" sz="2160" dirty="0"/>
              <a:t> </a:t>
            </a:r>
            <a:r>
              <a:rPr lang="en-US" sz="2160" dirty="0" err="1"/>
              <a:t>bruikbare</a:t>
            </a:r>
            <a:r>
              <a:rPr lang="en-US" sz="2160" dirty="0"/>
              <a:t> parameters </a:t>
            </a:r>
            <a:r>
              <a:rPr lang="en-US" sz="2160" dirty="0">
                <a:sym typeface="Wingdings"/>
              </a:rPr>
              <a:t> </a:t>
            </a:r>
            <a:r>
              <a:rPr lang="en-US" sz="2160" dirty="0" err="1"/>
              <a:t>geen</a:t>
            </a:r>
            <a:r>
              <a:rPr lang="en-US" sz="2160" dirty="0"/>
              <a:t> </a:t>
            </a:r>
            <a:r>
              <a:rPr lang="en-US" sz="2160" dirty="0" err="1"/>
              <a:t>verantwoording</a:t>
            </a:r>
            <a:endParaRPr lang="en-US" sz="2160" dirty="0"/>
          </a:p>
        </p:txBody>
      </p:sp>
      <p:sp>
        <p:nvSpPr>
          <p:cNvPr id="2" name="TextBox 1"/>
          <p:cNvSpPr txBox="1"/>
          <p:nvPr/>
        </p:nvSpPr>
        <p:spPr>
          <a:xfrm>
            <a:off x="4429407" y="6276713"/>
            <a:ext cx="3813949" cy="528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45" dirty="0">
                <a:latin typeface="+mj-lt"/>
              </a:rPr>
              <a:t>(*) </a:t>
            </a:r>
            <a:r>
              <a:rPr lang="en-US" sz="945" dirty="0" err="1">
                <a:latin typeface="+mj-lt"/>
              </a:rPr>
              <a:t>Fictieve</a:t>
            </a:r>
            <a:r>
              <a:rPr lang="en-US" sz="945" dirty="0">
                <a:latin typeface="+mj-lt"/>
              </a:rPr>
              <a:t> </a:t>
            </a:r>
            <a:r>
              <a:rPr lang="en-US" sz="945" dirty="0" err="1">
                <a:latin typeface="+mj-lt"/>
              </a:rPr>
              <a:t>voorbeelden</a:t>
            </a:r>
            <a:r>
              <a:rPr lang="en-US" sz="945" dirty="0">
                <a:latin typeface="+mj-lt"/>
              </a:rPr>
              <a:t> van </a:t>
            </a:r>
            <a:r>
              <a:rPr lang="en-US" sz="945" dirty="0" err="1">
                <a:latin typeface="+mj-lt"/>
              </a:rPr>
              <a:t>belangrijke</a:t>
            </a:r>
            <a:r>
              <a:rPr lang="en-US" sz="945" dirty="0">
                <a:latin typeface="+mj-lt"/>
              </a:rPr>
              <a:t> </a:t>
            </a:r>
            <a:r>
              <a:rPr lang="en-US" sz="945" dirty="0" err="1">
                <a:latin typeface="+mj-lt"/>
              </a:rPr>
              <a:t>activiteitenparameters</a:t>
            </a:r>
            <a:r>
              <a:rPr lang="en-US" sz="945" dirty="0">
                <a:latin typeface="+mj-lt"/>
              </a:rPr>
              <a:t> die </a:t>
            </a:r>
            <a:r>
              <a:rPr lang="en-US" sz="945" dirty="0" err="1">
                <a:latin typeface="+mj-lt"/>
              </a:rPr>
              <a:t>kunnen</a:t>
            </a:r>
            <a:r>
              <a:rPr lang="en-US" sz="945" dirty="0">
                <a:latin typeface="+mj-lt"/>
              </a:rPr>
              <a:t> </a:t>
            </a:r>
            <a:r>
              <a:rPr lang="en-US" sz="945" dirty="0" err="1">
                <a:latin typeface="+mj-lt"/>
              </a:rPr>
              <a:t>worden</a:t>
            </a:r>
            <a:r>
              <a:rPr lang="en-US" sz="945" dirty="0">
                <a:latin typeface="+mj-lt"/>
              </a:rPr>
              <a:t> </a:t>
            </a:r>
            <a:r>
              <a:rPr lang="en-US" sz="945" dirty="0" err="1">
                <a:latin typeface="+mj-lt"/>
              </a:rPr>
              <a:t>gecontroleerd</a:t>
            </a:r>
            <a:r>
              <a:rPr lang="en-US" sz="945" dirty="0">
                <a:latin typeface="+mj-lt"/>
              </a:rPr>
              <a:t> door de operators in de </a:t>
            </a:r>
            <a:r>
              <a:rPr lang="en-US" sz="945" dirty="0" err="1">
                <a:latin typeface="+mj-lt"/>
              </a:rPr>
              <a:t>controle-kamer</a:t>
            </a:r>
            <a:r>
              <a:rPr lang="en-US" sz="945" dirty="0">
                <a:latin typeface="+mj-lt"/>
              </a:rPr>
              <a:t>, in het </a:t>
            </a:r>
            <a:r>
              <a:rPr lang="en-US" sz="945" dirty="0" err="1">
                <a:latin typeface="+mj-lt"/>
              </a:rPr>
              <a:t>geval</a:t>
            </a:r>
            <a:r>
              <a:rPr lang="en-US" sz="945" dirty="0">
                <a:latin typeface="+mj-lt"/>
              </a:rPr>
              <a:t> </a:t>
            </a:r>
            <a:r>
              <a:rPr lang="en-US" sz="945" dirty="0" err="1">
                <a:latin typeface="+mj-lt"/>
              </a:rPr>
              <a:t>er</a:t>
            </a:r>
            <a:r>
              <a:rPr lang="en-US" sz="945" dirty="0">
                <a:latin typeface="+mj-lt"/>
              </a:rPr>
              <a:t> </a:t>
            </a:r>
            <a:r>
              <a:rPr lang="en-US" sz="945" dirty="0" err="1">
                <a:latin typeface="+mj-lt"/>
              </a:rPr>
              <a:t>zich</a:t>
            </a:r>
            <a:r>
              <a:rPr lang="en-US" sz="945" dirty="0">
                <a:latin typeface="+mj-lt"/>
              </a:rPr>
              <a:t> KPI-drifts </a:t>
            </a:r>
            <a:r>
              <a:rPr lang="en-US" sz="945" dirty="0" err="1">
                <a:latin typeface="+mj-lt"/>
              </a:rPr>
              <a:t>voordoen</a:t>
            </a:r>
            <a:r>
              <a:rPr lang="en-US" sz="945" dirty="0">
                <a:latin typeface="+mj-lt"/>
              </a:rPr>
              <a:t> </a:t>
            </a:r>
            <a:r>
              <a:rPr lang="en-US" sz="945" dirty="0" err="1">
                <a:latin typeface="+mj-lt"/>
              </a:rPr>
              <a:t>binnen</a:t>
            </a:r>
            <a:r>
              <a:rPr lang="en-US" sz="945" dirty="0">
                <a:latin typeface="+mj-lt"/>
              </a:rPr>
              <a:t> de </a:t>
            </a:r>
            <a:r>
              <a:rPr lang="en-US" sz="945" dirty="0" err="1">
                <a:latin typeface="+mj-lt"/>
              </a:rPr>
              <a:t>productie</a:t>
            </a:r>
            <a:r>
              <a:rPr lang="en-US" sz="945" dirty="0">
                <a:latin typeface="+mj-lt"/>
              </a:rPr>
              <a:t>.</a:t>
            </a:r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1640" y="1532295"/>
            <a:ext cx="6562257" cy="4610406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98636" y="3447739"/>
            <a:ext cx="2591025" cy="2462997"/>
          </a:xfrm>
          <a:prstGeom prst="rect">
            <a:avLst/>
          </a:prstGeom>
        </p:spPr>
      </p:pic>
      <p:sp>
        <p:nvSpPr>
          <p:cNvPr id="3" name="Rechthoek 2"/>
          <p:cNvSpPr/>
          <p:nvPr/>
        </p:nvSpPr>
        <p:spPr bwMode="auto">
          <a:xfrm>
            <a:off x="7344023" y="5679300"/>
            <a:ext cx="1188505" cy="5457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57740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081" y="321515"/>
            <a:ext cx="7752120" cy="5568623"/>
          </a:xfrm>
          <a:prstGeom prst="rect">
            <a:avLst/>
          </a:prstGeom>
        </p:spPr>
      </p:pic>
      <p:sp>
        <p:nvSpPr>
          <p:cNvPr id="5" name="Up Arrow 4"/>
          <p:cNvSpPr/>
          <p:nvPr/>
        </p:nvSpPr>
        <p:spPr bwMode="auto">
          <a:xfrm>
            <a:off x="4286250" y="4415299"/>
            <a:ext cx="672895" cy="1871202"/>
          </a:xfrm>
          <a:prstGeom prst="upArrow">
            <a:avLst/>
          </a:prstGeom>
          <a:solidFill>
            <a:schemeClr val="accent1"/>
          </a:solidFill>
          <a:ln w="25400" cap="flat" cmpd="sng" algn="ctr">
            <a:solidFill>
              <a:srgbClr val="7CC93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en-US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6" name="Oval 5"/>
          <p:cNvSpPr>
            <a:spLocks noChangeAspect="1"/>
          </p:cNvSpPr>
          <p:nvPr/>
        </p:nvSpPr>
        <p:spPr bwMode="auto">
          <a:xfrm>
            <a:off x="164538" y="4126101"/>
            <a:ext cx="1907150" cy="184755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square" lIns="0" tIns="41148" rIns="0" bIns="41148" numCol="1" rtlCol="0" anchor="ctr" anchorCtr="0" compatLnSpc="1">
            <a:prstTxWarp prst="textNoShape">
              <a:avLst/>
            </a:prstTxWarp>
          </a:bodyPr>
          <a:lstStyle/>
          <a:p>
            <a:pPr algn="ctr" defTabSz="822960" eaLnBrk="1" hangingPunct="1"/>
            <a:r>
              <a:rPr lang="en-US" dirty="0">
                <a:solidFill>
                  <a:srgbClr val="FFFFFF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WAT DE OPERATOR NODIG HEEFT…</a:t>
            </a:r>
          </a:p>
        </p:txBody>
      </p:sp>
    </p:spTree>
    <p:extLst>
      <p:ext uri="{BB962C8B-B14F-4D97-AF65-F5344CB8AC3E}">
        <p14:creationId xmlns:p14="http://schemas.microsoft.com/office/powerpoint/2010/main" val="24072532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Case </a:t>
            </a:r>
            <a:r>
              <a:rPr lang="nl-BE" dirty="0" err="1" smtClean="0"/>
              <a:t>prayon</a:t>
            </a:r>
            <a:r>
              <a:rPr lang="nl-BE" dirty="0" smtClean="0"/>
              <a:t> - </a:t>
            </a:r>
            <a:r>
              <a:rPr lang="nl-BE" dirty="0" err="1" smtClean="0"/>
              <a:t>witzuur</a:t>
            </a:r>
            <a:endParaRPr lang="en-GB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5069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142050" y="352425"/>
            <a:ext cx="7941502" cy="639762"/>
          </a:xfrm>
        </p:spPr>
        <p:txBody>
          <a:bodyPr vert="horz" wrap="square" lIns="82295" tIns="41148" rIns="82295" bIns="41148" numCol="1" anchor="t" anchorCtr="0" compatLnSpc="1">
            <a:prstTxWarp prst="textNoShape">
              <a:avLst/>
            </a:prstTxWarp>
          </a:bodyPr>
          <a:lstStyle/>
          <a:p>
            <a:r>
              <a:rPr lang="fr-LU" dirty="0" err="1" smtClean="0"/>
              <a:t>Aanpak</a:t>
            </a:r>
            <a:r>
              <a:rPr lang="fr-LU" dirty="0" smtClean="0"/>
              <a:t> ENERGYmaestro</a:t>
            </a:r>
            <a:endParaRPr lang="fr-LU" sz="1440" dirty="0"/>
          </a:p>
        </p:txBody>
      </p:sp>
      <p:graphicFrame>
        <p:nvGraphicFramePr>
          <p:cNvPr id="4" name="Espace réservé du contenu 3"/>
          <p:cNvGraphicFramePr>
            <a:graphicFrameLocks/>
          </p:cNvGraphicFramePr>
          <p:nvPr>
            <p:custDataLst>
              <p:tags r:id="rId1"/>
            </p:custDataLst>
            <p:extLst/>
          </p:nvPr>
        </p:nvGraphicFramePr>
        <p:xfrm>
          <a:off x="696268" y="4465065"/>
          <a:ext cx="7743825" cy="603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5" name="Espace réservé du contenu 3"/>
          <p:cNvGraphicFramePr>
            <a:graphicFrameLocks noGrp="1"/>
          </p:cNvGraphicFramePr>
          <p:nvPr>
            <p:ph idx="1"/>
            <p:custDataLst>
              <p:tags r:id="rId2"/>
            </p:custDataLst>
            <p:extLst/>
          </p:nvPr>
        </p:nvGraphicFramePr>
        <p:xfrm>
          <a:off x="659708" y="2236179"/>
          <a:ext cx="7754718" cy="10369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6" name="ZoneTexte 4"/>
          <p:cNvSpPr txBox="1"/>
          <p:nvPr>
            <p:custDataLst>
              <p:tags r:id="rId3"/>
            </p:custDataLst>
          </p:nvPr>
        </p:nvSpPr>
        <p:spPr>
          <a:xfrm>
            <a:off x="659709" y="3078672"/>
            <a:ext cx="1311966" cy="1412694"/>
          </a:xfrm>
          <a:prstGeom prst="rect">
            <a:avLst/>
          </a:prstGeom>
          <a:noFill/>
        </p:spPr>
        <p:txBody>
          <a:bodyPr wrap="square" lIns="82295" tIns="41148" rIns="82295" bIns="41148" rtlCol="0">
            <a:spAutoFit/>
          </a:bodyPr>
          <a:lstStyle/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 err="1">
                <a:latin typeface="Helvetica Neue"/>
                <a:cs typeface="Helvetica Neue"/>
              </a:rPr>
              <a:t>Vastleggen</a:t>
            </a:r>
            <a:r>
              <a:rPr lang="en-GB" sz="1080" dirty="0">
                <a:latin typeface="Helvetica Neue"/>
                <a:cs typeface="Helvetica Neue"/>
              </a:rPr>
              <a:t> </a:t>
            </a:r>
            <a:r>
              <a:rPr lang="en-GB" sz="1080" dirty="0" err="1">
                <a:latin typeface="Helvetica Neue"/>
                <a:cs typeface="Helvetica Neue"/>
              </a:rPr>
              <a:t>belangrijkste</a:t>
            </a:r>
            <a:r>
              <a:rPr lang="en-GB" sz="1080" dirty="0">
                <a:latin typeface="Helvetica Neue"/>
                <a:cs typeface="Helvetica Neue"/>
              </a:rPr>
              <a:t> KPI</a:t>
            </a:r>
          </a:p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 err="1">
                <a:latin typeface="Helvetica Neue"/>
                <a:cs typeface="Helvetica Neue"/>
              </a:rPr>
              <a:t>Voorlopige</a:t>
            </a:r>
            <a:r>
              <a:rPr lang="en-GB" sz="1080" dirty="0">
                <a:latin typeface="Helvetica Neue"/>
                <a:cs typeface="Helvetica Neue"/>
              </a:rPr>
              <a:t> analyse</a:t>
            </a:r>
          </a:p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 err="1">
                <a:latin typeface="Helvetica Neue"/>
                <a:cs typeface="Helvetica Neue"/>
              </a:rPr>
              <a:t>Kwantificering</a:t>
            </a:r>
            <a:r>
              <a:rPr lang="en-GB" sz="1080" dirty="0">
                <a:latin typeface="Helvetica Neue"/>
                <a:cs typeface="Helvetica Neue"/>
              </a:rPr>
              <a:t> van </a:t>
            </a:r>
            <a:r>
              <a:rPr lang="en-GB" sz="1080" dirty="0" err="1">
                <a:latin typeface="Helvetica Neue"/>
                <a:cs typeface="Helvetica Neue"/>
              </a:rPr>
              <a:t>besparings-mogelijkheden</a:t>
            </a:r>
            <a:endParaRPr lang="en-GB" sz="1080" dirty="0">
              <a:latin typeface="Helvetica Neue"/>
              <a:cs typeface="Helvetica Neue"/>
            </a:endParaRPr>
          </a:p>
        </p:txBody>
      </p:sp>
      <p:sp>
        <p:nvSpPr>
          <p:cNvPr id="7" name="ZoneTexte 6"/>
          <p:cNvSpPr txBox="1"/>
          <p:nvPr>
            <p:custDataLst>
              <p:tags r:id="rId4"/>
            </p:custDataLst>
          </p:nvPr>
        </p:nvSpPr>
        <p:spPr>
          <a:xfrm>
            <a:off x="1891045" y="3078673"/>
            <a:ext cx="1296144" cy="1080296"/>
          </a:xfrm>
          <a:prstGeom prst="rect">
            <a:avLst/>
          </a:prstGeom>
          <a:noFill/>
        </p:spPr>
        <p:txBody>
          <a:bodyPr wrap="square" lIns="82295" tIns="41148" rIns="82295" bIns="41148" rtlCol="0">
            <a:spAutoFit/>
          </a:bodyPr>
          <a:lstStyle/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>
                <a:latin typeface="Helvetica Neue"/>
                <a:cs typeface="Helvetica Neue"/>
              </a:rPr>
              <a:t>Root causes analyse met </a:t>
            </a:r>
            <a:r>
              <a:rPr lang="en-GB" sz="1080" dirty="0" err="1">
                <a:latin typeface="Helvetica Neue"/>
                <a:cs typeface="Helvetica Neue"/>
              </a:rPr>
              <a:t>operatoren</a:t>
            </a:r>
            <a:r>
              <a:rPr lang="en-GB" sz="1080" dirty="0">
                <a:latin typeface="Helvetica Neue"/>
                <a:cs typeface="Helvetica Neue"/>
              </a:rPr>
              <a:t> &amp; management</a:t>
            </a:r>
          </a:p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 err="1">
                <a:latin typeface="Helvetica Neue"/>
                <a:cs typeface="Helvetica Neue"/>
              </a:rPr>
              <a:t>Vastleggen</a:t>
            </a:r>
            <a:r>
              <a:rPr lang="en-GB" sz="1080" dirty="0">
                <a:latin typeface="Helvetica Neue"/>
                <a:cs typeface="Helvetica Neue"/>
              </a:rPr>
              <a:t> cascade KPIs</a:t>
            </a:r>
          </a:p>
        </p:txBody>
      </p:sp>
      <p:sp>
        <p:nvSpPr>
          <p:cNvPr id="8" name="ZoneTexte 7"/>
          <p:cNvSpPr txBox="1"/>
          <p:nvPr>
            <p:custDataLst>
              <p:tags r:id="rId5"/>
            </p:custDataLst>
          </p:nvPr>
        </p:nvSpPr>
        <p:spPr>
          <a:xfrm>
            <a:off x="3187190" y="3078672"/>
            <a:ext cx="1231337" cy="914096"/>
          </a:xfrm>
          <a:prstGeom prst="rect">
            <a:avLst/>
          </a:prstGeom>
          <a:noFill/>
        </p:spPr>
        <p:txBody>
          <a:bodyPr wrap="square" lIns="82295" tIns="41148" rIns="82295" bIns="41148" rtlCol="0">
            <a:spAutoFit/>
          </a:bodyPr>
          <a:lstStyle/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>
                <a:latin typeface="Helvetica Neue"/>
                <a:cs typeface="Helvetica Neue"/>
              </a:rPr>
              <a:t>Predictive </a:t>
            </a:r>
            <a:r>
              <a:rPr lang="en-GB" sz="1080" dirty="0" err="1">
                <a:latin typeface="Helvetica Neue"/>
                <a:cs typeface="Helvetica Neue"/>
              </a:rPr>
              <a:t>modellen</a:t>
            </a:r>
            <a:endParaRPr lang="en-GB" sz="1080" dirty="0">
              <a:latin typeface="Helvetica Neue"/>
              <a:cs typeface="Helvetica Neue"/>
            </a:endParaRPr>
          </a:p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 err="1">
                <a:latin typeface="Helvetica Neue"/>
                <a:cs typeface="Helvetica Neue"/>
              </a:rPr>
              <a:t>Diagnostiek</a:t>
            </a:r>
            <a:r>
              <a:rPr lang="en-GB" sz="1080" dirty="0">
                <a:latin typeface="Helvetica Neue"/>
                <a:cs typeface="Helvetica Neue"/>
              </a:rPr>
              <a:t> </a:t>
            </a:r>
            <a:r>
              <a:rPr lang="en-GB" sz="1080" dirty="0" err="1">
                <a:latin typeface="Helvetica Neue"/>
                <a:cs typeface="Helvetica Neue"/>
              </a:rPr>
              <a:t>modellen</a:t>
            </a:r>
            <a:endParaRPr lang="en-GB" sz="1080" dirty="0">
              <a:latin typeface="Helvetica Neue"/>
              <a:cs typeface="Helvetica Neue"/>
            </a:endParaRPr>
          </a:p>
          <a:p>
            <a:endParaRPr lang="en-GB" sz="1080" dirty="0">
              <a:latin typeface="Helvetica Neue"/>
              <a:cs typeface="Helvetica Neue"/>
            </a:endParaRPr>
          </a:p>
        </p:txBody>
      </p:sp>
      <p:sp>
        <p:nvSpPr>
          <p:cNvPr id="9" name="ZoneTexte 8"/>
          <p:cNvSpPr txBox="1"/>
          <p:nvPr>
            <p:custDataLst>
              <p:tags r:id="rId6"/>
            </p:custDataLst>
          </p:nvPr>
        </p:nvSpPr>
        <p:spPr>
          <a:xfrm>
            <a:off x="4418526" y="3078672"/>
            <a:ext cx="1296144" cy="1246495"/>
          </a:xfrm>
          <a:prstGeom prst="rect">
            <a:avLst/>
          </a:prstGeom>
          <a:noFill/>
        </p:spPr>
        <p:txBody>
          <a:bodyPr wrap="square" lIns="82295" tIns="41148" rIns="82295" bIns="41148" rtlCol="0">
            <a:spAutoFit/>
          </a:bodyPr>
          <a:lstStyle/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 err="1">
                <a:latin typeface="Helvetica Neue"/>
                <a:cs typeface="Helvetica Neue"/>
              </a:rPr>
              <a:t>Vereisten</a:t>
            </a:r>
            <a:r>
              <a:rPr lang="en-GB" sz="1080" dirty="0">
                <a:latin typeface="Helvetica Neue"/>
                <a:cs typeface="Helvetica Neue"/>
              </a:rPr>
              <a:t> UI </a:t>
            </a:r>
            <a:r>
              <a:rPr lang="en-GB" sz="1080" dirty="0" err="1">
                <a:latin typeface="Helvetica Neue"/>
                <a:cs typeface="Helvetica Neue"/>
              </a:rPr>
              <a:t>Operatoren</a:t>
            </a:r>
            <a:endParaRPr lang="en-GB" sz="1080" dirty="0">
              <a:latin typeface="Helvetica Neue"/>
              <a:cs typeface="Helvetica Neue"/>
            </a:endParaRPr>
          </a:p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 err="1">
                <a:latin typeface="Helvetica Neue"/>
                <a:cs typeface="Helvetica Neue"/>
              </a:rPr>
              <a:t>Vereisten</a:t>
            </a:r>
            <a:r>
              <a:rPr lang="en-GB" sz="1080" dirty="0">
                <a:latin typeface="Helvetica Neue"/>
                <a:cs typeface="Helvetica Neue"/>
              </a:rPr>
              <a:t> template </a:t>
            </a:r>
            <a:r>
              <a:rPr lang="en-GB" sz="1080" dirty="0" err="1">
                <a:latin typeface="Helvetica Neue"/>
                <a:cs typeface="Helvetica Neue"/>
              </a:rPr>
              <a:t>rapportage</a:t>
            </a:r>
            <a:endParaRPr lang="en-GB" sz="1080" dirty="0">
              <a:latin typeface="Helvetica Neue"/>
              <a:cs typeface="Helvetica Neue"/>
            </a:endParaRPr>
          </a:p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 err="1">
                <a:latin typeface="Helvetica Neue"/>
                <a:cs typeface="Helvetica Neue"/>
              </a:rPr>
              <a:t>Implementatie</a:t>
            </a:r>
            <a:r>
              <a:rPr lang="en-GB" sz="1080" dirty="0">
                <a:latin typeface="Helvetica Neue"/>
                <a:cs typeface="Helvetica Neue"/>
              </a:rPr>
              <a:t> </a:t>
            </a:r>
            <a:r>
              <a:rPr lang="en-GB" sz="1080" dirty="0" err="1">
                <a:latin typeface="Helvetica Neue"/>
                <a:cs typeface="Helvetica Neue"/>
              </a:rPr>
              <a:t>en</a:t>
            </a:r>
            <a:r>
              <a:rPr lang="en-GB" sz="1080" dirty="0">
                <a:latin typeface="Helvetica Neue"/>
                <a:cs typeface="Helvetica Neue"/>
              </a:rPr>
              <a:t> go live.</a:t>
            </a:r>
          </a:p>
        </p:txBody>
      </p:sp>
      <p:sp>
        <p:nvSpPr>
          <p:cNvPr id="10" name="ZoneTexte 9"/>
          <p:cNvSpPr txBox="1"/>
          <p:nvPr>
            <p:custDataLst>
              <p:tags r:id="rId7"/>
            </p:custDataLst>
          </p:nvPr>
        </p:nvSpPr>
        <p:spPr>
          <a:xfrm>
            <a:off x="5649862" y="3078673"/>
            <a:ext cx="1231337" cy="581698"/>
          </a:xfrm>
          <a:prstGeom prst="rect">
            <a:avLst/>
          </a:prstGeom>
          <a:noFill/>
        </p:spPr>
        <p:txBody>
          <a:bodyPr wrap="square" lIns="82295" tIns="41148" rIns="82295" bIns="41148" rtlCol="0">
            <a:spAutoFit/>
          </a:bodyPr>
          <a:lstStyle/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 err="1">
                <a:latin typeface="Helvetica Neue"/>
                <a:cs typeface="Helvetica Neue"/>
              </a:rPr>
              <a:t>Opleiding</a:t>
            </a:r>
            <a:r>
              <a:rPr lang="en-GB" sz="1080" dirty="0">
                <a:latin typeface="Helvetica Neue"/>
                <a:cs typeface="Helvetica Neue"/>
              </a:rPr>
              <a:t> van </a:t>
            </a:r>
            <a:r>
              <a:rPr lang="en-GB" sz="1080" dirty="0" err="1">
                <a:latin typeface="Helvetica Neue"/>
                <a:cs typeface="Helvetica Neue"/>
              </a:rPr>
              <a:t>operatoren</a:t>
            </a:r>
            <a:r>
              <a:rPr lang="en-GB" sz="1080" dirty="0">
                <a:latin typeface="Helvetica Neue"/>
                <a:cs typeface="Helvetica Neue"/>
              </a:rPr>
              <a:t> en management</a:t>
            </a:r>
          </a:p>
        </p:txBody>
      </p:sp>
      <p:sp>
        <p:nvSpPr>
          <p:cNvPr id="11" name="ZoneTexte 10"/>
          <p:cNvSpPr txBox="1"/>
          <p:nvPr>
            <p:custDataLst>
              <p:tags r:id="rId8"/>
            </p:custDataLst>
          </p:nvPr>
        </p:nvSpPr>
        <p:spPr>
          <a:xfrm>
            <a:off x="6888374" y="3078672"/>
            <a:ext cx="1498389" cy="747897"/>
          </a:xfrm>
          <a:prstGeom prst="rect">
            <a:avLst/>
          </a:prstGeom>
          <a:noFill/>
        </p:spPr>
        <p:txBody>
          <a:bodyPr wrap="square" lIns="82295" tIns="41148" rIns="82295" bIns="41148" rtlCol="0">
            <a:spAutoFit/>
          </a:bodyPr>
          <a:lstStyle/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>
                <a:latin typeface="Helvetica Neue"/>
                <a:cs typeface="Helvetica Neue"/>
              </a:rPr>
              <a:t>Check-up </a:t>
            </a:r>
            <a:r>
              <a:rPr lang="en-GB" sz="1080" dirty="0" err="1">
                <a:latin typeface="Helvetica Neue"/>
                <a:cs typeface="Helvetica Neue"/>
              </a:rPr>
              <a:t>prestatie-verbeteringen</a:t>
            </a:r>
            <a:endParaRPr lang="en-GB" sz="1080" dirty="0">
              <a:latin typeface="Helvetica Neue"/>
              <a:cs typeface="Helvetica Neue"/>
            </a:endParaRPr>
          </a:p>
          <a:p>
            <a:pPr marL="154303" indent="-154303">
              <a:buFont typeface="Arial" panose="020B0604020202020204" pitchFamily="34" charset="0"/>
              <a:buChar char="•"/>
            </a:pPr>
            <a:r>
              <a:rPr lang="en-GB" sz="1080" dirty="0">
                <a:latin typeface="Helvetica Neue"/>
                <a:cs typeface="Helvetica Neue"/>
              </a:rPr>
              <a:t>Tuning</a:t>
            </a:r>
          </a:p>
        </p:txBody>
      </p:sp>
      <p:sp>
        <p:nvSpPr>
          <p:cNvPr id="13" name="ZoneTexte 19"/>
          <p:cNvSpPr txBox="1"/>
          <p:nvPr>
            <p:custDataLst>
              <p:tags r:id="rId9"/>
            </p:custDataLst>
          </p:nvPr>
        </p:nvSpPr>
        <p:spPr>
          <a:xfrm>
            <a:off x="2960365" y="4723156"/>
            <a:ext cx="1684987" cy="249299"/>
          </a:xfrm>
          <a:prstGeom prst="rect">
            <a:avLst/>
          </a:prstGeom>
          <a:noFill/>
        </p:spPr>
        <p:txBody>
          <a:bodyPr wrap="square" lIns="82295" tIns="41148" rIns="82295" bIns="41148" rtlCol="0">
            <a:spAutoFit/>
          </a:bodyPr>
          <a:lstStyle/>
          <a:p>
            <a:pPr algn="ctr"/>
            <a:r>
              <a:rPr lang="en-GB" sz="1080" dirty="0">
                <a:latin typeface="Helvetica Light"/>
                <a:cs typeface="Helvetica Light"/>
              </a:rPr>
              <a:t>20-25 </a:t>
            </a:r>
            <a:r>
              <a:rPr lang="en-GB" sz="1080" dirty="0" err="1">
                <a:latin typeface="Helvetica Light"/>
                <a:cs typeface="Helvetica Light"/>
              </a:rPr>
              <a:t>weken</a:t>
            </a:r>
            <a:endParaRPr lang="en-GB" sz="1080" dirty="0">
              <a:latin typeface="Helvetica Light"/>
              <a:cs typeface="Helvetica Light"/>
            </a:endParaRPr>
          </a:p>
        </p:txBody>
      </p:sp>
      <p:graphicFrame>
        <p:nvGraphicFramePr>
          <p:cNvPr id="14" name="Espace réservé du contenu 3"/>
          <p:cNvGraphicFramePr>
            <a:graphicFrameLocks/>
          </p:cNvGraphicFramePr>
          <p:nvPr>
            <p:custDataLst>
              <p:tags r:id="rId10"/>
            </p:custDataLst>
            <p:extLst/>
          </p:nvPr>
        </p:nvGraphicFramePr>
        <p:xfrm>
          <a:off x="681603" y="1530707"/>
          <a:ext cx="7743825" cy="6263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pic>
        <p:nvPicPr>
          <p:cNvPr id="15" name="Image 33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355" y="1650251"/>
            <a:ext cx="1425758" cy="462746"/>
          </a:xfrm>
          <a:prstGeom prst="rect">
            <a:avLst/>
          </a:prstGeom>
        </p:spPr>
      </p:pic>
      <p:sp>
        <p:nvSpPr>
          <p:cNvPr id="17" name="Accolade fermante 36"/>
          <p:cNvSpPr/>
          <p:nvPr>
            <p:custDataLst>
              <p:tags r:id="rId12"/>
            </p:custDataLst>
          </p:nvPr>
        </p:nvSpPr>
        <p:spPr>
          <a:xfrm rot="5400000">
            <a:off x="3738051" y="2809070"/>
            <a:ext cx="129615" cy="3564398"/>
          </a:xfrm>
          <a:prstGeom prst="rightBrace">
            <a:avLst>
              <a:gd name="adj1" fmla="val 0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82295" tIns="41148" rIns="82295" bIns="41148" rtlCol="0" anchor="ctr"/>
          <a:lstStyle/>
          <a:p>
            <a:pPr algn="ctr"/>
            <a:endParaRPr lang="en-GB"/>
          </a:p>
        </p:txBody>
      </p:sp>
      <p:pic>
        <p:nvPicPr>
          <p:cNvPr id="18" name="Picture 17" descr="EnergyMaestro_logos_colour_CMYK.pdf"/>
          <p:cNvPicPr>
            <a:picLocks noChangeAspect="1"/>
          </p:cNvPicPr>
          <p:nvPr/>
        </p:nvPicPr>
        <p:blipFill rotWithShape="1"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2002"/>
          <a:stretch/>
        </p:blipFill>
        <p:spPr>
          <a:xfrm>
            <a:off x="6103513" y="4526374"/>
            <a:ext cx="1524338" cy="518458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-342900" y="1619251"/>
            <a:ext cx="166262" cy="360099"/>
          </a:xfrm>
          <a:prstGeom prst="rect">
            <a:avLst/>
          </a:prstGeom>
          <a:noFill/>
        </p:spPr>
        <p:txBody>
          <a:bodyPr wrap="none" lIns="82295" tIns="41148" rIns="82295" bIns="41148" rtlCol="0">
            <a:spAutoFit/>
          </a:bodyPr>
          <a:lstStyle/>
          <a:p>
            <a:endParaRPr lang="en-US" dirty="0"/>
          </a:p>
        </p:txBody>
      </p:sp>
      <p:sp>
        <p:nvSpPr>
          <p:cNvPr id="21" name="Oval 16"/>
          <p:cNvSpPr>
            <a:spLocks noChangeAspect="1"/>
          </p:cNvSpPr>
          <p:nvPr/>
        </p:nvSpPr>
        <p:spPr bwMode="auto">
          <a:xfrm>
            <a:off x="6005601" y="5180115"/>
            <a:ext cx="2792023" cy="956467"/>
          </a:xfrm>
          <a:prstGeom prst="ellipse">
            <a:avLst/>
          </a:prstGeom>
          <a:solidFill>
            <a:srgbClr val="81CA0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0" tIns="41148" rIns="0" bIns="4114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40" b="1" cap="all" dirty="0">
                <a:solidFill>
                  <a:schemeClr val="bg1"/>
                </a:solidFill>
                <a:latin typeface="Arial"/>
                <a:cs typeface="Arial"/>
              </a:rPr>
              <a:t>Impact capture </a:t>
            </a:r>
            <a:r>
              <a:rPr lang="en-US" sz="1440" b="1" cap="all" dirty="0" err="1">
                <a:solidFill>
                  <a:schemeClr val="bg1"/>
                </a:solidFill>
                <a:latin typeface="Arial"/>
                <a:cs typeface="Arial"/>
              </a:rPr>
              <a:t>begint</a:t>
            </a:r>
            <a:r>
              <a:rPr lang="en-US" sz="1440" b="1" cap="all" dirty="0">
                <a:solidFill>
                  <a:schemeClr val="bg1"/>
                </a:solidFill>
                <a:latin typeface="Arial"/>
                <a:cs typeface="Arial"/>
              </a:rPr>
              <a:t> al </a:t>
            </a:r>
            <a:r>
              <a:rPr lang="en-US" sz="1440" b="1" cap="all" dirty="0" err="1">
                <a:solidFill>
                  <a:schemeClr val="bg1"/>
                </a:solidFill>
                <a:latin typeface="Arial"/>
                <a:cs typeface="Arial"/>
              </a:rPr>
              <a:t>na</a:t>
            </a:r>
            <a:r>
              <a:rPr lang="en-US" sz="1440" b="1" cap="all" dirty="0">
                <a:solidFill>
                  <a:schemeClr val="bg1"/>
                </a:solidFill>
                <a:latin typeface="Arial"/>
                <a:cs typeface="Arial"/>
              </a:rPr>
              <a:t>            6 </a:t>
            </a:r>
            <a:r>
              <a:rPr lang="en-US" sz="1440" b="1" cap="all" dirty="0" err="1">
                <a:solidFill>
                  <a:schemeClr val="bg1"/>
                </a:solidFill>
                <a:latin typeface="Arial"/>
                <a:cs typeface="Arial"/>
              </a:rPr>
              <a:t>maanden</a:t>
            </a:r>
            <a:endParaRPr lang="en-US" sz="1440" b="1" cap="all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06865" y="1538607"/>
            <a:ext cx="1260004" cy="590929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620" b="1" dirty="0">
                <a:latin typeface="Arial"/>
                <a:cs typeface="Arial"/>
              </a:rPr>
              <a:t>data </a:t>
            </a:r>
            <a:r>
              <a:rPr lang="en-US" sz="1620" b="1" dirty="0" err="1">
                <a:latin typeface="Arial"/>
                <a:cs typeface="Arial"/>
              </a:rPr>
              <a:t>analyse</a:t>
            </a:r>
            <a:endParaRPr lang="en-US" sz="1620" b="1" dirty="0">
              <a:latin typeface="Arial"/>
              <a:cs typeface="Arial"/>
            </a:endParaRPr>
          </a:p>
        </p:txBody>
      </p:sp>
      <p:sp>
        <p:nvSpPr>
          <p:cNvPr id="20" name="Accolade fermante 36"/>
          <p:cNvSpPr/>
          <p:nvPr>
            <p:custDataLst>
              <p:tags r:id="rId13"/>
            </p:custDataLst>
          </p:nvPr>
        </p:nvSpPr>
        <p:spPr>
          <a:xfrm rot="5400000">
            <a:off x="1296329" y="4028378"/>
            <a:ext cx="111513" cy="1115122"/>
          </a:xfrm>
          <a:prstGeom prst="rightBrace">
            <a:avLst>
              <a:gd name="adj1" fmla="val 0"/>
              <a:gd name="adj2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82295" tIns="41148" rIns="82295" bIns="41148" rtlCol="0" anchor="ctr"/>
          <a:lstStyle/>
          <a:p>
            <a:pPr algn="ctr"/>
            <a:endParaRPr lang="en-GB"/>
          </a:p>
        </p:txBody>
      </p:sp>
      <p:sp>
        <p:nvSpPr>
          <p:cNvPr id="22" name="ZoneTexte 19"/>
          <p:cNvSpPr txBox="1"/>
          <p:nvPr>
            <p:custDataLst>
              <p:tags r:id="rId14"/>
            </p:custDataLst>
          </p:nvPr>
        </p:nvSpPr>
        <p:spPr>
          <a:xfrm>
            <a:off x="504863" y="4706986"/>
            <a:ext cx="1684987" cy="249299"/>
          </a:xfrm>
          <a:prstGeom prst="rect">
            <a:avLst/>
          </a:prstGeom>
          <a:noFill/>
        </p:spPr>
        <p:txBody>
          <a:bodyPr wrap="square" lIns="82295" tIns="41148" rIns="82295" bIns="41148" rtlCol="0">
            <a:spAutoFit/>
          </a:bodyPr>
          <a:lstStyle/>
          <a:p>
            <a:pPr algn="ctr"/>
            <a:r>
              <a:rPr lang="en-GB" sz="1080" dirty="0">
                <a:latin typeface="Helvetica Light"/>
                <a:cs typeface="Helvetica Light"/>
              </a:rPr>
              <a:t>2 </a:t>
            </a:r>
            <a:r>
              <a:rPr lang="en-GB" sz="1080" dirty="0" err="1">
                <a:latin typeface="Helvetica Light"/>
                <a:cs typeface="Helvetica Light"/>
              </a:rPr>
              <a:t>weken</a:t>
            </a:r>
            <a:endParaRPr lang="en-GB" sz="1080" dirty="0">
              <a:latin typeface="Helvetica Light"/>
              <a:cs typeface="Helvetica Light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>
          <a:xfrm>
            <a:off x="1742380" y="4923729"/>
            <a:ext cx="1129059" cy="1130226"/>
          </a:xfrm>
          <a:prstGeom prst="ellipse">
            <a:avLst/>
          </a:prstGeom>
          <a:solidFill>
            <a:srgbClr val="00A4C8"/>
          </a:solidFill>
          <a:ln>
            <a:noFill/>
          </a:ln>
        </p:spPr>
        <p:txBody>
          <a:bodyPr rot="0" spcFirstLastPara="0" vertOverflow="overflow" horzOverflow="overflow" vert="horz" wrap="square" lIns="0" tIns="41148" rIns="0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6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Al </a:t>
            </a:r>
            <a:r>
              <a:rPr lang="en-US" sz="126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vanaf</a:t>
            </a:r>
            <a:r>
              <a:rPr lang="en-US" sz="126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de start </a:t>
            </a:r>
            <a:r>
              <a:rPr lang="en-US" sz="126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ziet</a:t>
            </a:r>
            <a:r>
              <a:rPr lang="en-US" sz="1260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u </a:t>
            </a:r>
            <a:r>
              <a:rPr lang="en-US" sz="1260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resultaten</a:t>
            </a:r>
            <a:endParaRPr lang="en-US" sz="1260" b="1" dirty="0">
              <a:solidFill>
                <a:schemeClr val="bg1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804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020134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TextBox 2"/>
          <p:cNvSpPr txBox="1"/>
          <p:nvPr/>
        </p:nvSpPr>
        <p:spPr>
          <a:xfrm rot="16200000">
            <a:off x="-215910" y="4627877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antal</a:t>
            </a:r>
            <a:r>
              <a:rPr lang="en-US" sz="14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ren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85753" y="3455060"/>
            <a:ext cx="3228368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pecifiek</a:t>
            </a:r>
            <a:r>
              <a:rPr lang="en-US" sz="14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energieverbruik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2" r="5175" b="15172"/>
          <a:stretch/>
        </p:blipFill>
        <p:spPr bwMode="auto">
          <a:xfrm>
            <a:off x="1288112" y="3432177"/>
            <a:ext cx="7048832" cy="2705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Straight Connector 7"/>
          <p:cNvCxnSpPr/>
          <p:nvPr/>
        </p:nvCxnSpPr>
        <p:spPr bwMode="auto">
          <a:xfrm flipH="1">
            <a:off x="5072023" y="3555923"/>
            <a:ext cx="17914" cy="2662877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81CA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8"/>
          <p:cNvSpPr/>
          <p:nvPr/>
        </p:nvSpPr>
        <p:spPr bwMode="auto">
          <a:xfrm>
            <a:off x="5089937" y="3326686"/>
            <a:ext cx="3210454" cy="2292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rgbClr val="81CA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260" dirty="0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Target = 1,6 ton stoom / </a:t>
            </a:r>
            <a:r>
              <a:rPr lang="en-US" sz="1260" dirty="0" err="1" smtClean="0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productie-eenheid</a:t>
            </a:r>
            <a:endParaRPr lang="en-US" sz="1260" dirty="0">
              <a:solidFill>
                <a:srgbClr val="81CA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grpSp>
        <p:nvGrpSpPr>
          <p:cNvPr id="24" name="Group 2"/>
          <p:cNvGrpSpPr/>
          <p:nvPr/>
        </p:nvGrpSpPr>
        <p:grpSpPr>
          <a:xfrm>
            <a:off x="40066" y="1058499"/>
            <a:ext cx="4736949" cy="2373678"/>
            <a:chOff x="425102" y="498990"/>
            <a:chExt cx="8397870" cy="5679913"/>
          </a:xfrm>
        </p:grpSpPr>
        <p:sp>
          <p:nvSpPr>
            <p:cNvPr id="25" name="Rectangle 8"/>
            <p:cNvSpPr>
              <a:spLocks noChangeArrowheads="1"/>
            </p:cNvSpPr>
            <p:nvPr/>
          </p:nvSpPr>
          <p:spPr bwMode="auto">
            <a:xfrm>
              <a:off x="3681036" y="4046180"/>
              <a:ext cx="1623914" cy="2102737"/>
            </a:xfrm>
            <a:prstGeom prst="rect">
              <a:avLst/>
            </a:prstGeom>
            <a:solidFill>
              <a:srgbClr val="8EC02F"/>
            </a:solidFill>
            <a:ln w="9525">
              <a:noFill/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lIns="91436" tIns="45716" rIns="91436" bIns="45716" anchor="ctr"/>
            <a:lstStyle/>
            <a:p>
              <a:pPr algn="ctr"/>
              <a:r>
                <a:rPr lang="fr-FR" b="1" dirty="0">
                  <a:solidFill>
                    <a:srgbClr val="FFFFFF"/>
                  </a:solidFill>
                  <a:latin typeface="Arial"/>
                  <a:cs typeface="Arial"/>
                </a:rPr>
                <a:t>Target</a:t>
              </a:r>
            </a:p>
          </p:txBody>
        </p:sp>
        <p:sp>
          <p:nvSpPr>
            <p:cNvPr id="26" name="Rectangle 7"/>
            <p:cNvSpPr>
              <a:spLocks noChangeAspect="1"/>
            </p:cNvSpPr>
            <p:nvPr/>
          </p:nvSpPr>
          <p:spPr bwMode="auto">
            <a:xfrm>
              <a:off x="1658220" y="2634336"/>
              <a:ext cx="1623914" cy="3533423"/>
            </a:xfrm>
            <a:prstGeom prst="rect">
              <a:avLst/>
            </a:prstGeom>
            <a:solidFill>
              <a:srgbClr val="E57C23"/>
            </a:solidFill>
            <a:ln w="9525">
              <a:noFill/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lIns="91436" tIns="45716" rIns="91436" bIns="45716" anchor="ctr"/>
            <a:lstStyle/>
            <a:p>
              <a:pPr algn="ctr"/>
              <a:r>
                <a:rPr lang="fr-FR" b="1" dirty="0" err="1">
                  <a:solidFill>
                    <a:srgbClr val="FFFFFF"/>
                  </a:solidFill>
                  <a:latin typeface="Arial"/>
                  <a:cs typeface="Arial"/>
                </a:rPr>
                <a:t>Now</a:t>
              </a:r>
              <a:endParaRPr lang="fr-FR" b="1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6359390" y="2643694"/>
              <a:ext cx="1623914" cy="1386417"/>
            </a:xfrm>
            <a:prstGeom prst="rect">
              <a:avLst/>
            </a:prstGeom>
            <a:solidFill>
              <a:srgbClr val="00A4C8"/>
            </a:solidFill>
            <a:ln w="9525">
              <a:solidFill>
                <a:srgbClr val="287A9E"/>
              </a:solidFill>
              <a:miter lim="800000"/>
              <a:headEnd/>
              <a:tailEnd/>
            </a:ln>
            <a:effectLst>
              <a:outerShdw dist="23000" dir="5400000" rotWithShape="0">
                <a:srgbClr val="808080">
                  <a:alpha val="34998"/>
                </a:srgbClr>
              </a:outerShdw>
            </a:effectLst>
          </p:spPr>
          <p:txBody>
            <a:bodyPr lIns="82293" tIns="41148" rIns="82293" bIns="41148" anchor="ctr"/>
            <a:lstStyle/>
            <a:p>
              <a:pPr algn="ctr"/>
              <a:r>
                <a:rPr lang="fr-FR" b="1" dirty="0">
                  <a:solidFill>
                    <a:srgbClr val="FFFFFF"/>
                  </a:solidFill>
                  <a:latin typeface="Arial"/>
                  <a:cs typeface="Arial"/>
                </a:rPr>
                <a:t>GAP</a:t>
              </a:r>
            </a:p>
          </p:txBody>
        </p:sp>
        <p:cxnSp>
          <p:nvCxnSpPr>
            <p:cNvPr id="28" name="Straight Connector 17"/>
            <p:cNvCxnSpPr>
              <a:cxnSpLocks noChangeShapeType="1"/>
            </p:cNvCxnSpPr>
            <p:nvPr/>
          </p:nvCxnSpPr>
          <p:spPr bwMode="auto">
            <a:xfrm>
              <a:off x="1631187" y="2633063"/>
              <a:ext cx="6646712" cy="1588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18"/>
            <p:cNvCxnSpPr>
              <a:cxnSpLocks noChangeShapeType="1"/>
            </p:cNvCxnSpPr>
            <p:nvPr/>
          </p:nvCxnSpPr>
          <p:spPr bwMode="auto">
            <a:xfrm>
              <a:off x="3621039" y="4059287"/>
              <a:ext cx="4682912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0" name="Down Arrow 23"/>
            <p:cNvSpPr>
              <a:spLocks noChangeArrowheads="1"/>
            </p:cNvSpPr>
            <p:nvPr/>
          </p:nvSpPr>
          <p:spPr bwMode="auto">
            <a:xfrm>
              <a:off x="1447165" y="875702"/>
              <a:ext cx="2025732" cy="1820507"/>
            </a:xfrm>
            <a:prstGeom prst="downArrow">
              <a:avLst>
                <a:gd name="adj1" fmla="val 82259"/>
                <a:gd name="adj2" fmla="val 34213"/>
              </a:avLst>
            </a:prstGeom>
            <a:solidFill>
              <a:srgbClr val="FFFFFF"/>
            </a:solidFill>
            <a:ln w="25400">
              <a:solidFill>
                <a:srgbClr val="000000"/>
              </a:solidFill>
              <a:round/>
              <a:headEnd/>
              <a:tailEnd/>
            </a:ln>
            <a:effectLst>
              <a:outerShdw dist="38100" dir="2700000" rotWithShape="0">
                <a:srgbClr val="808080">
                  <a:alpha val="42998"/>
                </a:srgbClr>
              </a:outerShdw>
            </a:effectLst>
          </p:spPr>
          <p:txBody>
            <a:bodyPr lIns="91436" tIns="45716" rIns="91436" bIns="45716" anchor="ctr"/>
            <a:lstStyle/>
            <a:p>
              <a:pPr algn="ctr"/>
              <a:r>
                <a:rPr lang="fr-FR" sz="1080" dirty="0">
                  <a:solidFill>
                    <a:srgbClr val="404040"/>
                  </a:solidFill>
                  <a:latin typeface="Arial"/>
                  <a:cs typeface="Arial"/>
                </a:rPr>
                <a:t>1. </a:t>
              </a:r>
              <a:r>
                <a:rPr lang="fr-FR" sz="1080" dirty="0" err="1">
                  <a:solidFill>
                    <a:srgbClr val="404040"/>
                  </a:solidFill>
                  <a:latin typeface="Arial"/>
                  <a:cs typeface="Arial"/>
                </a:rPr>
                <a:t>Bepaal</a:t>
              </a:r>
              <a:r>
                <a:rPr lang="fr-FR" sz="1080" dirty="0">
                  <a:solidFill>
                    <a:srgbClr val="404040"/>
                  </a:solidFill>
                  <a:latin typeface="Arial"/>
                  <a:cs typeface="Arial"/>
                </a:rPr>
                <a:t> de </a:t>
              </a:r>
              <a:r>
                <a:rPr lang="fr-FR" sz="1080" dirty="0" err="1">
                  <a:solidFill>
                    <a:srgbClr val="404040"/>
                  </a:solidFill>
                  <a:latin typeface="Arial"/>
                  <a:cs typeface="Arial"/>
                </a:rPr>
                <a:t>uitgangs-positie</a:t>
              </a:r>
              <a:endParaRPr lang="fr-FR" sz="1080" dirty="0">
                <a:solidFill>
                  <a:srgbClr val="404040"/>
                </a:solidFill>
                <a:latin typeface="Arial"/>
                <a:cs typeface="Arial"/>
              </a:endParaRPr>
            </a:p>
          </p:txBody>
        </p:sp>
        <p:sp>
          <p:nvSpPr>
            <p:cNvPr id="31" name="Down Arrow 24"/>
            <p:cNvSpPr>
              <a:spLocks noChangeArrowheads="1"/>
            </p:cNvSpPr>
            <p:nvPr/>
          </p:nvSpPr>
          <p:spPr bwMode="auto">
            <a:xfrm>
              <a:off x="3535935" y="2435338"/>
              <a:ext cx="1902406" cy="1598821"/>
            </a:xfrm>
            <a:prstGeom prst="downArrow">
              <a:avLst>
                <a:gd name="adj1" fmla="val 82259"/>
                <a:gd name="adj2" fmla="val 34213"/>
              </a:avLst>
            </a:prstGeom>
            <a:solidFill>
              <a:srgbClr val="FFFFFF"/>
            </a:solidFill>
            <a:ln w="25400">
              <a:solidFill>
                <a:srgbClr val="000000"/>
              </a:solidFill>
              <a:round/>
              <a:headEnd/>
              <a:tailEnd/>
            </a:ln>
            <a:effectLst>
              <a:outerShdw dist="38100" dir="2700000" rotWithShape="0">
                <a:srgbClr val="808080">
                  <a:alpha val="42998"/>
                </a:srgbClr>
              </a:outerShdw>
            </a:effectLst>
          </p:spPr>
          <p:txBody>
            <a:bodyPr lIns="91436" tIns="45716" rIns="91436" bIns="45716" anchor="ctr"/>
            <a:lstStyle/>
            <a:p>
              <a:pPr algn="ctr"/>
              <a:r>
                <a:rPr lang="fr-FR" sz="1080" dirty="0">
                  <a:solidFill>
                    <a:srgbClr val="404040"/>
                  </a:solidFill>
                  <a:latin typeface="Arial"/>
                  <a:cs typeface="Arial"/>
                </a:rPr>
                <a:t>2. </a:t>
              </a:r>
              <a:r>
                <a:rPr lang="fr-FR" sz="1080" dirty="0" err="1">
                  <a:solidFill>
                    <a:srgbClr val="404040"/>
                  </a:solidFill>
                  <a:latin typeface="Arial"/>
                  <a:cs typeface="Arial"/>
                </a:rPr>
                <a:t>Bepaal</a:t>
              </a:r>
              <a:r>
                <a:rPr lang="fr-FR" sz="1080" dirty="0">
                  <a:solidFill>
                    <a:srgbClr val="404040"/>
                  </a:solidFill>
                  <a:latin typeface="Arial"/>
                  <a:cs typeface="Arial"/>
                </a:rPr>
                <a:t> het </a:t>
              </a:r>
              <a:r>
                <a:rPr lang="fr-FR" sz="1080" dirty="0" err="1">
                  <a:solidFill>
                    <a:srgbClr val="404040"/>
                  </a:solidFill>
                  <a:latin typeface="Arial"/>
                  <a:cs typeface="Arial"/>
                </a:rPr>
                <a:t>einddoel</a:t>
              </a:r>
              <a:endParaRPr lang="fr-FR" sz="1080" dirty="0">
                <a:solidFill>
                  <a:srgbClr val="404040"/>
                </a:solidFill>
                <a:latin typeface="Arial"/>
                <a:cs typeface="Arial"/>
              </a:endParaRPr>
            </a:p>
          </p:txBody>
        </p:sp>
        <p:grpSp>
          <p:nvGrpSpPr>
            <p:cNvPr id="32" name="Group 10"/>
            <p:cNvGrpSpPr>
              <a:grpSpLocks noChangeAspect="1"/>
            </p:cNvGrpSpPr>
            <p:nvPr/>
          </p:nvGrpSpPr>
          <p:grpSpPr bwMode="auto">
            <a:xfrm>
              <a:off x="1204736" y="1795639"/>
              <a:ext cx="7618236" cy="4383264"/>
              <a:chOff x="1293813" y="1690317"/>
              <a:chExt cx="6630987" cy="4114800"/>
            </a:xfrm>
          </p:grpSpPr>
          <p:cxnSp>
            <p:nvCxnSpPr>
              <p:cNvPr id="35" name="Straight Arrow Connector 4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-762051" y="3746181"/>
                <a:ext cx="4114800" cy="3071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arrow" w="med" len="med"/>
              </a:ln>
              <a:effectLst>
                <a:outerShdw dist="20000" dir="5400000" rotWithShape="0">
                  <a:srgbClr val="808080">
                    <a:alpha val="37999"/>
                  </a:srgbClr>
                </a:outerShdw>
              </a:effectLst>
            </p:spPr>
          </p:cxnSp>
          <p:cxnSp>
            <p:nvCxnSpPr>
              <p:cNvPr id="36" name="Straight Arrow Connector 6"/>
              <p:cNvCxnSpPr>
                <a:cxnSpLocks noChangeShapeType="1"/>
              </p:cNvCxnSpPr>
              <p:nvPr/>
            </p:nvCxnSpPr>
            <p:spPr bwMode="auto">
              <a:xfrm>
                <a:off x="1293813" y="5793525"/>
                <a:ext cx="6630987" cy="1656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arrow" w="med" len="med"/>
              </a:ln>
              <a:effectLst>
                <a:outerShdw dist="20000" dir="5400000" rotWithShape="0">
                  <a:srgbClr val="808080">
                    <a:alpha val="37999"/>
                  </a:srgbClr>
                </a:outerShdw>
              </a:effectLst>
            </p:spPr>
          </p:cxnSp>
        </p:grpSp>
        <p:sp>
          <p:nvSpPr>
            <p:cNvPr id="33" name="Rectangle 29"/>
            <p:cNvSpPr>
              <a:spLocks noChangeArrowheads="1"/>
            </p:cNvSpPr>
            <p:nvPr/>
          </p:nvSpPr>
          <p:spPr bwMode="auto">
            <a:xfrm>
              <a:off x="425102" y="1908528"/>
              <a:ext cx="779640" cy="1601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vert270" lIns="91436" tIns="45716" rIns="91436" bIns="45716"/>
            <a:lstStyle/>
            <a:p>
              <a:pPr algn="ctr"/>
              <a:r>
                <a:rPr lang="fr-FR" sz="1260" dirty="0">
                  <a:latin typeface="Arial"/>
                  <a:cs typeface="Arial"/>
                </a:rPr>
                <a:t>KPI</a:t>
              </a:r>
              <a:endParaRPr lang="fr-FR" sz="1620" dirty="0">
                <a:latin typeface="Arial"/>
                <a:cs typeface="Arial"/>
              </a:endParaRPr>
            </a:p>
          </p:txBody>
        </p:sp>
        <p:sp>
          <p:nvSpPr>
            <p:cNvPr id="34" name="Down Arrow 31"/>
            <p:cNvSpPr>
              <a:spLocks noChangeArrowheads="1"/>
            </p:cNvSpPr>
            <p:nvPr/>
          </p:nvSpPr>
          <p:spPr bwMode="auto">
            <a:xfrm>
              <a:off x="6107716" y="498990"/>
              <a:ext cx="2170182" cy="2197221"/>
            </a:xfrm>
            <a:prstGeom prst="downArrow">
              <a:avLst>
                <a:gd name="adj1" fmla="val 82259"/>
                <a:gd name="adj2" fmla="val 34213"/>
              </a:avLst>
            </a:prstGeom>
            <a:solidFill>
              <a:srgbClr val="FFFFFF"/>
            </a:solidFill>
            <a:ln w="25400">
              <a:solidFill>
                <a:srgbClr val="000000"/>
              </a:solidFill>
              <a:round/>
              <a:headEnd/>
              <a:tailEnd/>
            </a:ln>
            <a:effectLst>
              <a:outerShdw dist="38100" dir="2700000" rotWithShape="0">
                <a:srgbClr val="808080">
                  <a:alpha val="42998"/>
                </a:srgbClr>
              </a:outerShdw>
            </a:effectLst>
          </p:spPr>
          <p:txBody>
            <a:bodyPr lIns="91436" tIns="45716" rIns="91436" bIns="45716" anchor="ctr"/>
            <a:lstStyle/>
            <a:p>
              <a:pPr algn="ctr">
                <a:spcAft>
                  <a:spcPts val="600"/>
                </a:spcAft>
              </a:pPr>
              <a:r>
                <a:rPr lang="fr-FR" sz="1080" dirty="0">
                  <a:solidFill>
                    <a:srgbClr val="404040"/>
                  </a:solidFill>
                  <a:latin typeface="Arial"/>
                  <a:cs typeface="Arial"/>
                </a:rPr>
                <a:t>3. </a:t>
              </a:r>
              <a:r>
                <a:rPr lang="fr-FR" sz="1080" dirty="0" err="1">
                  <a:solidFill>
                    <a:srgbClr val="404040"/>
                  </a:solidFill>
                  <a:latin typeface="Arial"/>
                  <a:cs typeface="Arial"/>
                </a:rPr>
                <a:t>Analyseer</a:t>
              </a:r>
              <a:r>
                <a:rPr lang="fr-FR" sz="1080" dirty="0">
                  <a:solidFill>
                    <a:srgbClr val="404040"/>
                  </a:solidFill>
                  <a:latin typeface="Arial"/>
                  <a:cs typeface="Arial"/>
                </a:rPr>
                <a:t> en over-</a:t>
              </a:r>
              <a:r>
                <a:rPr lang="fr-FR" sz="1080" dirty="0" err="1">
                  <a:solidFill>
                    <a:srgbClr val="404040"/>
                  </a:solidFill>
                  <a:latin typeface="Arial"/>
                  <a:cs typeface="Arial"/>
                </a:rPr>
                <a:t>brug</a:t>
              </a:r>
              <a:r>
                <a:rPr lang="fr-FR" sz="1080" dirty="0">
                  <a:solidFill>
                    <a:srgbClr val="404040"/>
                  </a:solidFill>
                  <a:latin typeface="Arial"/>
                  <a:cs typeface="Arial"/>
                </a:rPr>
                <a:t>(*) het </a:t>
              </a:r>
              <a:r>
                <a:rPr lang="fr-FR" sz="1080" dirty="0" err="1">
                  <a:solidFill>
                    <a:srgbClr val="404040"/>
                  </a:solidFill>
                  <a:latin typeface="Arial"/>
                  <a:cs typeface="Arial"/>
                </a:rPr>
                <a:t>verschil</a:t>
              </a:r>
              <a:endParaRPr lang="fr-FR" sz="1080" dirty="0">
                <a:solidFill>
                  <a:srgbClr val="404040"/>
                </a:solidFill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39750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 noChangeAspect="1"/>
          </p:cNvPicPr>
          <p:nvPr/>
        </p:nvPicPr>
        <p:blipFill rotWithShape="1">
          <a:blip r:embed="rId11"/>
          <a:srcRect b="16166"/>
          <a:stretch/>
        </p:blipFill>
        <p:spPr>
          <a:xfrm>
            <a:off x="558312" y="3749176"/>
            <a:ext cx="8042031" cy="2519515"/>
          </a:xfrm>
          <a:prstGeom prst="rect">
            <a:avLst/>
          </a:prstGeom>
        </p:spPr>
      </p:pic>
      <p:graphicFrame>
        <p:nvGraphicFramePr>
          <p:cNvPr id="10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180231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3" name="Rectangle 12"/>
          <p:cNvSpPr/>
          <p:nvPr/>
        </p:nvSpPr>
        <p:spPr bwMode="auto">
          <a:xfrm>
            <a:off x="3504709" y="3943405"/>
            <a:ext cx="2677876" cy="2787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rgbClr val="81CA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6209" tIns="43105" rIns="86209" bIns="43105"/>
          <a:lstStyle/>
          <a:p>
            <a:pPr>
              <a:spcBef>
                <a:spcPts val="500"/>
              </a:spcBef>
              <a:buClr>
                <a:srgbClr val="000000"/>
              </a:buClr>
              <a:buSzPct val="100000"/>
              <a:defRPr/>
            </a:pPr>
            <a:r>
              <a:rPr lang="en-US" sz="1260" dirty="0" err="1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Potentieel</a:t>
            </a:r>
            <a:r>
              <a:rPr lang="en-US" sz="1260" dirty="0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: 4.000 ton stoom / </a:t>
            </a:r>
            <a:r>
              <a:rPr lang="en-US" sz="1260" dirty="0" err="1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jaar</a:t>
            </a:r>
            <a:endParaRPr lang="en-US" sz="1260" dirty="0">
              <a:solidFill>
                <a:srgbClr val="81CA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-325790" y="4729492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Besparingen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119402" y="6397954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Tijd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6" name="Rectangular Callout 15"/>
          <p:cNvSpPr/>
          <p:nvPr/>
        </p:nvSpPr>
        <p:spPr bwMode="auto">
          <a:xfrm>
            <a:off x="4348320" y="5376386"/>
            <a:ext cx="2085645" cy="777880"/>
          </a:xfrm>
          <a:prstGeom prst="wedgeRectCallout">
            <a:avLst>
              <a:gd name="adj1" fmla="val 46274"/>
              <a:gd name="adj2" fmla="val -170179"/>
            </a:avLst>
          </a:prstGeom>
          <a:solidFill>
            <a:srgbClr val="FFFFFF"/>
          </a:solidFill>
          <a:ln>
            <a:solidFill>
              <a:srgbClr val="81CA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7200" tIns="41148" rIns="97200" bIns="41148" numCol="1" rtlCol="0" anchor="ctr" anchorCtr="0" compatLnSpc="1">
            <a:prstTxWarp prst="textNoShape">
              <a:avLst/>
            </a:prstTxWarp>
          </a:bodyPr>
          <a:lstStyle/>
          <a:p>
            <a:pPr algn="ctr" defTabSz="822960" eaLnBrk="1" hangingPunct="1"/>
            <a:r>
              <a:rPr lang="nl-BE" sz="1440" dirty="0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Hoe steiler de “cusum” des te verder zijn we van het doel</a:t>
            </a:r>
            <a:endParaRPr lang="en-US" sz="1440" dirty="0">
              <a:solidFill>
                <a:srgbClr val="81CA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7" name="Rectangular Callout 11"/>
          <p:cNvSpPr/>
          <p:nvPr/>
        </p:nvSpPr>
        <p:spPr bwMode="auto">
          <a:xfrm>
            <a:off x="6649195" y="4893789"/>
            <a:ext cx="2379848" cy="871537"/>
          </a:xfrm>
          <a:prstGeom prst="wedgeRectCallout">
            <a:avLst>
              <a:gd name="adj1" fmla="val 4304"/>
              <a:gd name="adj2" fmla="val -142052"/>
            </a:avLst>
          </a:prstGeom>
          <a:solidFill>
            <a:srgbClr val="FFFFFF"/>
          </a:solidFill>
          <a:ln>
            <a:solidFill>
              <a:srgbClr val="81CA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7200" tIns="41148" rIns="97200" bIns="41148" numCol="1" rtlCol="0" anchor="ctr" anchorCtr="0" compatLnSpc="1">
            <a:prstTxWarp prst="textNoShape">
              <a:avLst/>
            </a:prstTxWarp>
          </a:bodyPr>
          <a:lstStyle/>
          <a:p>
            <a:pPr algn="ctr" defTabSz="822960" eaLnBrk="1" hangingPunct="1"/>
            <a:r>
              <a:rPr lang="nl-BE" sz="1440" dirty="0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gecumuleerde overconsumptie van energie wanneer het doel is gezet op 1,6</a:t>
            </a:r>
            <a:endParaRPr lang="en-US" sz="1440" dirty="0">
              <a:solidFill>
                <a:srgbClr val="81CA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9" name="Rectangular Callout 11"/>
          <p:cNvSpPr/>
          <p:nvPr/>
        </p:nvSpPr>
        <p:spPr bwMode="auto">
          <a:xfrm>
            <a:off x="1275324" y="5008933"/>
            <a:ext cx="2085645" cy="493121"/>
          </a:xfrm>
          <a:prstGeom prst="wedgeRectCallout">
            <a:avLst>
              <a:gd name="adj1" fmla="val 11461"/>
              <a:gd name="adj2" fmla="val 154106"/>
            </a:avLst>
          </a:prstGeom>
          <a:solidFill>
            <a:srgbClr val="FFFFFF"/>
          </a:solidFill>
          <a:ln>
            <a:solidFill>
              <a:srgbClr val="81CA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7200" tIns="41148" rIns="97200" bIns="41148" numCol="1" rtlCol="0" anchor="ctr" anchorCtr="0" compatLnSpc="1">
            <a:prstTxWarp prst="textNoShape">
              <a:avLst/>
            </a:prstTxWarp>
          </a:bodyPr>
          <a:lstStyle/>
          <a:p>
            <a:pPr algn="ctr" defTabSz="822960" eaLnBrk="1" hangingPunct="1"/>
            <a:r>
              <a:rPr lang="nl-BE" sz="1440" dirty="0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Vlakke cusum, we zijn beter dan het doel</a:t>
            </a:r>
            <a:endParaRPr lang="en-US" sz="1440" dirty="0">
              <a:solidFill>
                <a:srgbClr val="81CA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graphicFrame>
        <p:nvGraphicFramePr>
          <p:cNvPr id="18" name="Graphique 5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053929" y="1099436"/>
          <a:ext cx="3491880" cy="2845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20" name="Graphique 14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4382386" y="1430982"/>
          <a:ext cx="3600399" cy="2383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4" name="Légende sans bordure 2 17"/>
          <p:cNvSpPr/>
          <p:nvPr>
            <p:custDataLst>
              <p:tags r:id="rId4"/>
            </p:custDataLst>
          </p:nvPr>
        </p:nvSpPr>
        <p:spPr>
          <a:xfrm>
            <a:off x="5968101" y="2813291"/>
            <a:ext cx="1362187" cy="612648"/>
          </a:xfrm>
          <a:prstGeom prst="callout2">
            <a:avLst>
              <a:gd name="adj1" fmla="val 27872"/>
              <a:gd name="adj2" fmla="val -18711"/>
              <a:gd name="adj3" fmla="val 10043"/>
              <a:gd name="adj4" fmla="val -38091"/>
              <a:gd name="adj5" fmla="val -48777"/>
              <a:gd name="adj6" fmla="val -38716"/>
            </a:avLst>
          </a:prstGeom>
          <a:noFill/>
          <a:ln w="19050">
            <a:solidFill>
              <a:schemeClr val="accent3">
                <a:lumMod val="50000"/>
              </a:schemeClr>
            </a:solidFill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/>
            <a:r>
              <a:rPr lang="fr-CA" sz="1170" dirty="0" err="1">
                <a:solidFill>
                  <a:schemeClr val="tx1"/>
                </a:solidFill>
              </a:rPr>
              <a:t>Gewenste</a:t>
            </a:r>
            <a:r>
              <a:rPr lang="fr-CA" sz="1170" dirty="0">
                <a:solidFill>
                  <a:schemeClr val="tx1"/>
                </a:solidFill>
              </a:rPr>
              <a:t> </a:t>
            </a:r>
            <a:r>
              <a:rPr lang="fr-CA" sz="1170" dirty="0" err="1">
                <a:solidFill>
                  <a:schemeClr val="tx1"/>
                </a:solidFill>
              </a:rPr>
              <a:t>performantie</a:t>
            </a:r>
            <a:endParaRPr lang="fr-CA" sz="1170" dirty="0">
              <a:solidFill>
                <a:schemeClr val="tx1"/>
              </a:solidFill>
            </a:endParaRPr>
          </a:p>
        </p:txBody>
      </p:sp>
      <p:sp>
        <p:nvSpPr>
          <p:cNvPr id="25" name="Légende sans bordure 2 6"/>
          <p:cNvSpPr/>
          <p:nvPr>
            <p:custDataLst>
              <p:tags r:id="rId5"/>
            </p:custDataLst>
          </p:nvPr>
        </p:nvSpPr>
        <p:spPr>
          <a:xfrm>
            <a:off x="2258986" y="1168685"/>
            <a:ext cx="1140545" cy="612648"/>
          </a:xfrm>
          <a:prstGeom prst="callout2">
            <a:avLst>
              <a:gd name="adj1" fmla="val 48601"/>
              <a:gd name="adj2" fmla="val 100417"/>
              <a:gd name="adj3" fmla="val 74721"/>
              <a:gd name="adj4" fmla="val 130557"/>
              <a:gd name="adj5" fmla="val 183185"/>
              <a:gd name="adj6" fmla="val 126852"/>
            </a:avLst>
          </a:prstGeom>
          <a:noFill/>
          <a:ln w="19050">
            <a:solidFill>
              <a:schemeClr val="accent3">
                <a:lumMod val="50000"/>
              </a:schemeClr>
            </a:solidFill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/>
            <a:r>
              <a:rPr lang="fr-CA" sz="1170" dirty="0" err="1">
                <a:solidFill>
                  <a:schemeClr val="tx1"/>
                </a:solidFill>
              </a:rPr>
              <a:t>Besparings-potentieel</a:t>
            </a:r>
            <a:r>
              <a:rPr lang="fr-CA" sz="1170" dirty="0">
                <a:solidFill>
                  <a:schemeClr val="tx1"/>
                </a:solidFill>
              </a:rPr>
              <a:t> (*)</a:t>
            </a:r>
          </a:p>
        </p:txBody>
      </p:sp>
      <p:cxnSp>
        <p:nvCxnSpPr>
          <p:cNvPr id="26" name="Connecteur droit 8"/>
          <p:cNvCxnSpPr/>
          <p:nvPr>
            <p:custDataLst>
              <p:tags r:id="rId6"/>
            </p:custDataLst>
          </p:nvPr>
        </p:nvCxnSpPr>
        <p:spPr>
          <a:xfrm flipH="1">
            <a:off x="2369347" y="1765708"/>
            <a:ext cx="115352" cy="555763"/>
          </a:xfrm>
          <a:prstGeom prst="line">
            <a:avLst/>
          </a:prstGeom>
          <a:noFill/>
          <a:ln w="19050">
            <a:solidFill>
              <a:schemeClr val="accent3">
                <a:lumMod val="50000"/>
              </a:schemeClr>
            </a:solidFill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7" name="Connecteur droit 10"/>
          <p:cNvCxnSpPr/>
          <p:nvPr>
            <p:custDataLst>
              <p:tags r:id="rId7"/>
            </p:custDataLst>
          </p:nvPr>
        </p:nvCxnSpPr>
        <p:spPr>
          <a:xfrm>
            <a:off x="2859982" y="1765708"/>
            <a:ext cx="95772" cy="483755"/>
          </a:xfrm>
          <a:prstGeom prst="line">
            <a:avLst/>
          </a:prstGeom>
          <a:noFill/>
          <a:ln w="19050">
            <a:solidFill>
              <a:schemeClr val="accent3">
                <a:lumMod val="50000"/>
              </a:schemeClr>
            </a:solidFill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28" name="Connecteur droit 11"/>
          <p:cNvCxnSpPr/>
          <p:nvPr>
            <p:custDataLst>
              <p:tags r:id="rId8"/>
            </p:custDataLst>
          </p:nvPr>
        </p:nvCxnSpPr>
        <p:spPr>
          <a:xfrm flipH="1">
            <a:off x="1803003" y="1578753"/>
            <a:ext cx="515142" cy="526694"/>
          </a:xfrm>
          <a:prstGeom prst="line">
            <a:avLst/>
          </a:prstGeom>
          <a:noFill/>
          <a:ln w="19050">
            <a:solidFill>
              <a:schemeClr val="accent3">
                <a:lumMod val="50000"/>
              </a:schemeClr>
            </a:solidFill>
            <a:tailEnd type="oval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112897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MG_0431.JP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7"/>
          <a:stretch/>
        </p:blipFill>
        <p:spPr>
          <a:xfrm>
            <a:off x="5768785" y="2638986"/>
            <a:ext cx="2501462" cy="3294530"/>
          </a:xfrm>
          <a:prstGeom prst="rect">
            <a:avLst/>
          </a:prstGeom>
        </p:spPr>
      </p:pic>
      <p:sp>
        <p:nvSpPr>
          <p:cNvPr id="6" name="Oval 5"/>
          <p:cNvSpPr>
            <a:spLocks noChangeAspect="1"/>
          </p:cNvSpPr>
          <p:nvPr/>
        </p:nvSpPr>
        <p:spPr>
          <a:xfrm>
            <a:off x="156576" y="1390463"/>
            <a:ext cx="2143712" cy="2145929"/>
          </a:xfrm>
          <a:prstGeom prst="ellipse">
            <a:avLst/>
          </a:prstGeom>
          <a:solidFill>
            <a:srgbClr val="00A4C8"/>
          </a:solidFill>
          <a:ln>
            <a:noFill/>
          </a:ln>
        </p:spPr>
        <p:txBody>
          <a:bodyPr rot="0" spcFirstLastPara="0" vertOverflow="overflow" horzOverflow="overflow" vert="horz" wrap="square" lIns="0" tIns="41148" rIns="0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Workshop met </a:t>
            </a:r>
            <a:r>
              <a:rPr lang="en-US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operatoren</a:t>
            </a:r>
            <a:r>
              <a:rPr lang="en-US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voor</a:t>
            </a:r>
            <a:r>
              <a:rPr lang="en-US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meer</a:t>
            </a:r>
            <a:r>
              <a:rPr lang="en-US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betrokkenheid</a:t>
            </a:r>
            <a:r>
              <a:rPr lang="en-US" dirty="0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en </a:t>
            </a:r>
            <a:r>
              <a:rPr lang="en-US" dirty="0" err="1">
                <a:solidFill>
                  <a:schemeClr val="bg1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inbreng</a:t>
            </a:r>
            <a:endParaRPr lang="en-US" dirty="0">
              <a:solidFill>
                <a:schemeClr val="bg1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pic>
        <p:nvPicPr>
          <p:cNvPr id="7" name="Image 1" descr="img025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4283" y="1772395"/>
            <a:ext cx="3679453" cy="2172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 descr="IMG_0433.jpg"/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3519" y="3210486"/>
            <a:ext cx="2502482" cy="2739502"/>
          </a:xfrm>
          <a:prstGeom prst="rect">
            <a:avLst/>
          </a:prstGeom>
        </p:spPr>
      </p:pic>
      <p:graphicFrame>
        <p:nvGraphicFramePr>
          <p:cNvPr id="8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37045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1244689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4"/>
          <p:cNvGraphicFramePr>
            <a:graphicFrameLocks/>
          </p:cNvGraphicFramePr>
          <p:nvPr>
            <p:extLst/>
          </p:nvPr>
        </p:nvGraphicFramePr>
        <p:xfrm>
          <a:off x="1109395" y="1287017"/>
          <a:ext cx="7439822" cy="54758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86019" y="1534380"/>
            <a:ext cx="2721014" cy="1477328"/>
          </a:xfrm>
          <a:prstGeom prst="rect">
            <a:avLst/>
          </a:prstGeom>
          <a:solidFill>
            <a:srgbClr val="8EC02F"/>
          </a:solidFill>
        </p:spPr>
        <p:txBody>
          <a:bodyPr wrap="square" rtlCol="0">
            <a:spAutoFit/>
          </a:bodyPr>
          <a:lstStyle/>
          <a:p>
            <a:pPr marL="308610" indent="-308610">
              <a:buFont typeface="Wingdings" charset="2"/>
              <a:buChar char="§"/>
            </a:pPr>
            <a:r>
              <a:rPr lang="en-US" dirty="0">
                <a:solidFill>
                  <a:srgbClr val="FFFFFF"/>
                </a:solidFill>
                <a:latin typeface="+mj-lt"/>
              </a:rPr>
              <a:t>12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operatoren</a:t>
            </a:r>
            <a:endParaRPr lang="en-US" dirty="0">
              <a:solidFill>
                <a:srgbClr val="FFFFFF"/>
              </a:solidFill>
              <a:latin typeface="+mj-lt"/>
            </a:endParaRPr>
          </a:p>
          <a:p>
            <a:pPr marL="308610" indent="-308610">
              <a:buFont typeface="Wingdings" charset="2"/>
              <a:buChar char="§"/>
            </a:pPr>
            <a:r>
              <a:rPr lang="en-US" dirty="0">
                <a:solidFill>
                  <a:srgbClr val="FFFFFF"/>
                </a:solidFill>
                <a:latin typeface="+mj-lt"/>
              </a:rPr>
              <a:t>7,5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uur</a:t>
            </a:r>
            <a:r>
              <a:rPr lang="en-US" dirty="0">
                <a:solidFill>
                  <a:srgbClr val="FFFFFF"/>
                </a:solidFill>
                <a:latin typeface="+mj-lt"/>
              </a:rPr>
              <a:t> brainstorming</a:t>
            </a:r>
          </a:p>
          <a:p>
            <a:pPr marL="308610" indent="-308610">
              <a:buFont typeface="Wingdings" charset="2"/>
              <a:buChar char="§"/>
            </a:pPr>
            <a:r>
              <a:rPr lang="en-US" dirty="0">
                <a:solidFill>
                  <a:srgbClr val="FFFFFF"/>
                </a:solidFill>
                <a:latin typeface="+mj-lt"/>
              </a:rPr>
              <a:t>+/- 100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ideeën</a:t>
            </a:r>
            <a:endParaRPr lang="en-US" dirty="0">
              <a:solidFill>
                <a:srgbClr val="FFFFFF"/>
              </a:solidFill>
              <a:latin typeface="+mj-lt"/>
            </a:endParaRPr>
          </a:p>
          <a:p>
            <a:pPr marL="308610" indent="-308610">
              <a:buFont typeface="Wingdings" charset="2"/>
              <a:buChar char="§"/>
            </a:pPr>
            <a:r>
              <a:rPr lang="en-US" dirty="0" err="1">
                <a:solidFill>
                  <a:srgbClr val="FFFFFF"/>
                </a:solidFill>
                <a:latin typeface="+mj-lt"/>
              </a:rPr>
              <a:t>Uitgewerkt</a:t>
            </a:r>
            <a:r>
              <a:rPr lang="en-US" dirty="0">
                <a:solidFill>
                  <a:srgbClr val="FFFFFF"/>
                </a:solidFill>
                <a:latin typeface="+mj-lt"/>
              </a:rPr>
              <a:t> in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een</a:t>
            </a:r>
            <a:r>
              <a:rPr lang="en-US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b="1" dirty="0" err="1">
                <a:solidFill>
                  <a:srgbClr val="FFFFFF"/>
                </a:solidFill>
                <a:latin typeface="+mj-lt"/>
              </a:rPr>
              <a:t>oorzakenboom</a:t>
            </a:r>
            <a:endParaRPr lang="en-US" b="1" dirty="0">
              <a:solidFill>
                <a:srgbClr val="FFFFFF"/>
              </a:solidFill>
              <a:latin typeface="+mj-lt"/>
            </a:endParaRPr>
          </a:p>
        </p:txBody>
      </p:sp>
      <p:graphicFrame>
        <p:nvGraphicFramePr>
          <p:cNvPr id="6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202957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828128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2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0593472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Afbeelding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06773" y="1454576"/>
            <a:ext cx="5998086" cy="4364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9579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Voorstelling INDEA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smtClean="0"/>
              <a:t>“Bruikbaar energieadvies voor industriële bedrijven”</a:t>
            </a:r>
          </a:p>
          <a:p>
            <a:pPr lvl="2"/>
            <a:r>
              <a:rPr lang="nl-BE" dirty="0" smtClean="0"/>
              <a:t>Audits / Haalbaarheidsstudies (Energieplan, energiestudie)</a:t>
            </a:r>
          </a:p>
          <a:p>
            <a:pPr lvl="2"/>
            <a:r>
              <a:rPr lang="nl-BE" dirty="0" smtClean="0"/>
              <a:t>Besluit energieplanning / Convenanten / EBO / EED</a:t>
            </a:r>
          </a:p>
          <a:p>
            <a:pPr lvl="2"/>
            <a:r>
              <a:rPr lang="nl-BE" dirty="0" smtClean="0"/>
              <a:t>Wetgeving / ETS / Externe energiecoördinatie</a:t>
            </a:r>
          </a:p>
          <a:p>
            <a:pPr lvl="2"/>
            <a:r>
              <a:rPr lang="nl-BE" dirty="0" smtClean="0"/>
              <a:t>Second opinion</a:t>
            </a:r>
          </a:p>
          <a:p>
            <a:pPr lvl="2"/>
            <a:endParaRPr lang="nl-BE" dirty="0" smtClean="0"/>
          </a:p>
          <a:p>
            <a:r>
              <a:rPr lang="en-US" dirty="0" err="1" smtClean="0"/>
              <a:t>Expertisedomeinen</a:t>
            </a:r>
            <a:endParaRPr lang="en-US" dirty="0" smtClean="0"/>
          </a:p>
          <a:p>
            <a:pPr lvl="2"/>
            <a:r>
              <a:rPr lang="en-US" dirty="0" err="1" smtClean="0"/>
              <a:t>Industriële</a:t>
            </a:r>
            <a:r>
              <a:rPr lang="en-US" dirty="0" smtClean="0"/>
              <a:t> </a:t>
            </a:r>
            <a:r>
              <a:rPr lang="en-US" dirty="0" err="1" smtClean="0"/>
              <a:t>processen</a:t>
            </a:r>
            <a:endParaRPr lang="en-US" dirty="0" smtClean="0"/>
          </a:p>
          <a:p>
            <a:pPr lvl="2"/>
            <a:r>
              <a:rPr lang="en-US" dirty="0" err="1" smtClean="0"/>
              <a:t>Stoom</a:t>
            </a:r>
            <a:r>
              <a:rPr lang="en-US" dirty="0" smtClean="0"/>
              <a:t> – </a:t>
            </a:r>
            <a:r>
              <a:rPr lang="en-US" dirty="0" err="1" smtClean="0"/>
              <a:t>Restwarmte</a:t>
            </a:r>
            <a:r>
              <a:rPr lang="en-US" dirty="0" smtClean="0"/>
              <a:t> – </a:t>
            </a:r>
            <a:r>
              <a:rPr lang="en-US" dirty="0" err="1" smtClean="0"/>
              <a:t>Warmte-integratie</a:t>
            </a:r>
            <a:r>
              <a:rPr lang="en-US" dirty="0" smtClean="0"/>
              <a:t> – buffers</a:t>
            </a:r>
          </a:p>
          <a:p>
            <a:pPr lvl="2"/>
            <a:r>
              <a:rPr lang="en-US" dirty="0" err="1" smtClean="0"/>
              <a:t>Decentrale</a:t>
            </a:r>
            <a:r>
              <a:rPr lang="en-US" dirty="0" smtClean="0"/>
              <a:t> </a:t>
            </a:r>
            <a:r>
              <a:rPr lang="en-US" dirty="0" err="1" smtClean="0"/>
              <a:t>energieproductie</a:t>
            </a:r>
            <a:r>
              <a:rPr lang="en-US" dirty="0" smtClean="0"/>
              <a:t> (WKK)</a:t>
            </a:r>
          </a:p>
          <a:p>
            <a:pPr lvl="2"/>
            <a:r>
              <a:rPr lang="en-US" dirty="0" smtClean="0"/>
              <a:t>Data-</a:t>
            </a:r>
            <a:r>
              <a:rPr lang="en-US" dirty="0" err="1" smtClean="0"/>
              <a:t>analyse</a:t>
            </a:r>
            <a:r>
              <a:rPr lang="en-US" dirty="0" smtClean="0"/>
              <a:t> - </a:t>
            </a:r>
            <a:r>
              <a:rPr lang="en-US" dirty="0" err="1" smtClean="0"/>
              <a:t>ENERGYmaestr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061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sz="half" idx="10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443" b="17061"/>
          <a:stretch/>
        </p:blipFill>
        <p:spPr>
          <a:xfrm>
            <a:off x="497913" y="1276615"/>
            <a:ext cx="3603660" cy="2793195"/>
          </a:xfr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58319" y="2844579"/>
            <a:ext cx="5068847" cy="3138582"/>
          </a:xfrm>
          <a:prstGeom prst="rect">
            <a:avLst/>
          </a:prstGeom>
        </p:spPr>
      </p:pic>
      <p:graphicFrame>
        <p:nvGraphicFramePr>
          <p:cNvPr id="23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992768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7776659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apture d’écran 2013-06-15 à 12.36.18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2451" y="985736"/>
            <a:ext cx="3514117" cy="25630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7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797790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5" name="Content Placeholder 3" descr="Capture d’écran 2014-02-07 à 11.41.30.png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2" r="262"/>
          <a:stretch>
            <a:fillRect/>
          </a:stretch>
        </p:blipFill>
        <p:spPr>
          <a:xfrm>
            <a:off x="-137088" y="2483366"/>
            <a:ext cx="3732989" cy="23419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Afbeelding 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8541" y="3203146"/>
            <a:ext cx="6565459" cy="3748097"/>
          </a:xfrm>
          <a:prstGeom prst="rect">
            <a:avLst/>
          </a:prstGeom>
        </p:spPr>
      </p:pic>
      <p:sp>
        <p:nvSpPr>
          <p:cNvPr id="10" name="TextBox 14"/>
          <p:cNvSpPr txBox="1"/>
          <p:nvPr/>
        </p:nvSpPr>
        <p:spPr>
          <a:xfrm>
            <a:off x="5210745" y="6344282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roductie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1" name="TextBox 2"/>
          <p:cNvSpPr txBox="1"/>
          <p:nvPr/>
        </p:nvSpPr>
        <p:spPr>
          <a:xfrm rot="16200000">
            <a:off x="1711805" y="4726310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pecifiek</a:t>
            </a:r>
            <a:r>
              <a:rPr lang="en-US" sz="14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toomverbruik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3769509" y="3654357"/>
            <a:ext cx="627864" cy="13295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nl-BE" sz="1440" dirty="0">
                <a:latin typeface="+mn-lt"/>
              </a:rPr>
              <a:t>Kleurcode = kwaliteit</a:t>
            </a:r>
          </a:p>
        </p:txBody>
      </p:sp>
      <p:sp>
        <p:nvSpPr>
          <p:cNvPr id="4" name="Rechthoek 3"/>
          <p:cNvSpPr/>
          <p:nvPr/>
        </p:nvSpPr>
        <p:spPr bwMode="auto">
          <a:xfrm>
            <a:off x="3177672" y="3453044"/>
            <a:ext cx="250466" cy="2659149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nl-BE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7122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5111579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4" name="Picture 3" descr="Capture d’écran 2013-06-15 à 12.26.40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5359" y="1012766"/>
            <a:ext cx="5816252" cy="38070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Content Placeholder 3" descr="DM.tiff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52" b="2052"/>
          <a:stretch>
            <a:fillRect/>
          </a:stretch>
        </p:blipFill>
        <p:spPr>
          <a:xfrm>
            <a:off x="751616" y="1416668"/>
            <a:ext cx="3102068" cy="20933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11"/>
          <a:srcRect l="13203" b="18526"/>
          <a:stretch/>
        </p:blipFill>
        <p:spPr>
          <a:xfrm>
            <a:off x="2188771" y="3408128"/>
            <a:ext cx="5614934" cy="2851718"/>
          </a:xfrm>
          <a:prstGeom prst="rect">
            <a:avLst/>
          </a:prstGeom>
        </p:spPr>
      </p:pic>
      <p:sp>
        <p:nvSpPr>
          <p:cNvPr id="7" name="Vrije vorm 6"/>
          <p:cNvSpPr/>
          <p:nvPr/>
        </p:nvSpPr>
        <p:spPr bwMode="auto">
          <a:xfrm>
            <a:off x="3761433" y="4443644"/>
            <a:ext cx="2803390" cy="1248378"/>
          </a:xfrm>
          <a:custGeom>
            <a:avLst/>
            <a:gdLst>
              <a:gd name="connsiteX0" fmla="*/ 3195961 w 3195961"/>
              <a:gd name="connsiteY0" fmla="*/ 1651247 h 1651247"/>
              <a:gd name="connsiteX1" fmla="*/ 2352582 w 3195961"/>
              <a:gd name="connsiteY1" fmla="*/ 1367162 h 1651247"/>
              <a:gd name="connsiteX2" fmla="*/ 1376038 w 3195961"/>
              <a:gd name="connsiteY2" fmla="*/ 958789 h 1651247"/>
              <a:gd name="connsiteX3" fmla="*/ 727968 w 3195961"/>
              <a:gd name="connsiteY3" fmla="*/ 585927 h 1651247"/>
              <a:gd name="connsiteX4" fmla="*/ 0 w 3195961"/>
              <a:gd name="connsiteY4" fmla="*/ 0 h 1651247"/>
              <a:gd name="connsiteX0" fmla="*/ 3542616 w 3542616"/>
              <a:gd name="connsiteY0" fmla="*/ 1570712 h 1570712"/>
              <a:gd name="connsiteX1" fmla="*/ 2699237 w 3542616"/>
              <a:gd name="connsiteY1" fmla="*/ 1286627 h 1570712"/>
              <a:gd name="connsiteX2" fmla="*/ 1722693 w 3542616"/>
              <a:gd name="connsiteY2" fmla="*/ 878254 h 1570712"/>
              <a:gd name="connsiteX3" fmla="*/ 1074623 w 3542616"/>
              <a:gd name="connsiteY3" fmla="*/ 505392 h 1570712"/>
              <a:gd name="connsiteX4" fmla="*/ 0 w 3542616"/>
              <a:gd name="connsiteY4" fmla="*/ 0 h 1570712"/>
              <a:gd name="connsiteX0" fmla="*/ 3542616 w 3542616"/>
              <a:gd name="connsiteY0" fmla="*/ 1570712 h 1570712"/>
              <a:gd name="connsiteX1" fmla="*/ 2699237 w 3542616"/>
              <a:gd name="connsiteY1" fmla="*/ 1286627 h 1570712"/>
              <a:gd name="connsiteX2" fmla="*/ 1722693 w 3542616"/>
              <a:gd name="connsiteY2" fmla="*/ 878254 h 1570712"/>
              <a:gd name="connsiteX3" fmla="*/ 982181 w 3542616"/>
              <a:gd name="connsiteY3" fmla="*/ 620442 h 1570712"/>
              <a:gd name="connsiteX4" fmla="*/ 0 w 3542616"/>
              <a:gd name="connsiteY4" fmla="*/ 0 h 1570712"/>
              <a:gd name="connsiteX0" fmla="*/ 3542616 w 3542616"/>
              <a:gd name="connsiteY0" fmla="*/ 1570712 h 1570712"/>
              <a:gd name="connsiteX1" fmla="*/ 2699237 w 3542616"/>
              <a:gd name="connsiteY1" fmla="*/ 1286627 h 1570712"/>
              <a:gd name="connsiteX2" fmla="*/ 1826690 w 3542616"/>
              <a:gd name="connsiteY2" fmla="*/ 993304 h 1570712"/>
              <a:gd name="connsiteX3" fmla="*/ 982181 w 3542616"/>
              <a:gd name="connsiteY3" fmla="*/ 620442 h 1570712"/>
              <a:gd name="connsiteX4" fmla="*/ 0 w 3542616"/>
              <a:gd name="connsiteY4" fmla="*/ 0 h 1570712"/>
              <a:gd name="connsiteX0" fmla="*/ 3542616 w 3542616"/>
              <a:gd name="connsiteY0" fmla="*/ 1570712 h 1570712"/>
              <a:gd name="connsiteX1" fmla="*/ 2687682 w 3542616"/>
              <a:gd name="connsiteY1" fmla="*/ 1298132 h 1570712"/>
              <a:gd name="connsiteX2" fmla="*/ 1826690 w 3542616"/>
              <a:gd name="connsiteY2" fmla="*/ 993304 h 1570712"/>
              <a:gd name="connsiteX3" fmla="*/ 982181 w 3542616"/>
              <a:gd name="connsiteY3" fmla="*/ 620442 h 1570712"/>
              <a:gd name="connsiteX4" fmla="*/ 0 w 3542616"/>
              <a:gd name="connsiteY4" fmla="*/ 0 h 1570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2616" h="1570712">
                <a:moveTo>
                  <a:pt x="3542616" y="1570712"/>
                </a:moveTo>
                <a:lnTo>
                  <a:pt x="2687682" y="1298132"/>
                </a:lnTo>
                <a:cubicBezTo>
                  <a:pt x="2401694" y="1201897"/>
                  <a:pt x="2110940" y="1106252"/>
                  <a:pt x="1826690" y="993304"/>
                </a:cubicBezTo>
                <a:cubicBezTo>
                  <a:pt x="1542440" y="880356"/>
                  <a:pt x="1286629" y="785993"/>
                  <a:pt x="982181" y="620442"/>
                </a:cubicBezTo>
                <a:cubicBezTo>
                  <a:pt x="677733" y="454891"/>
                  <a:pt x="156839" y="133165"/>
                  <a:pt x="0" y="0"/>
                </a:cubicBezTo>
              </a:path>
            </a:pathLst>
          </a:custGeom>
          <a:ln>
            <a:headEnd type="none" w="med" len="med"/>
            <a:tailEnd type="non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nl-BE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3" name="Rechthoek 2"/>
          <p:cNvSpPr/>
          <p:nvPr/>
        </p:nvSpPr>
        <p:spPr bwMode="auto">
          <a:xfrm>
            <a:off x="2423910" y="3674160"/>
            <a:ext cx="814015" cy="180912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nl-BE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8" name="TextBox 2"/>
          <p:cNvSpPr txBox="1"/>
          <p:nvPr/>
        </p:nvSpPr>
        <p:spPr>
          <a:xfrm rot="16200000">
            <a:off x="798446" y="4746113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pecifiek</a:t>
            </a:r>
            <a:r>
              <a:rPr lang="en-US" sz="14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toomverbruik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TextBox 14"/>
          <p:cNvSpPr txBox="1"/>
          <p:nvPr/>
        </p:nvSpPr>
        <p:spPr>
          <a:xfrm>
            <a:off x="3853684" y="6296130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roductie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0" name="Tekstvak 9"/>
          <p:cNvSpPr txBox="1"/>
          <p:nvPr/>
        </p:nvSpPr>
        <p:spPr>
          <a:xfrm>
            <a:off x="2424514" y="3913923"/>
            <a:ext cx="849463" cy="13295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nl-BE" sz="1440" dirty="0">
                <a:latin typeface="+mn-lt"/>
              </a:rPr>
              <a:t>Kleurcode = absoluut stoomverbruik</a:t>
            </a:r>
          </a:p>
        </p:txBody>
      </p:sp>
    </p:spTree>
    <p:extLst>
      <p:ext uri="{BB962C8B-B14F-4D97-AF65-F5344CB8AC3E}">
        <p14:creationId xmlns:p14="http://schemas.microsoft.com/office/powerpoint/2010/main" val="26503601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 descr="Graph 80 - Principale.JP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482" y="1473630"/>
            <a:ext cx="6783388" cy="45339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754626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775928" y="1473629"/>
            <a:ext cx="1846007" cy="923330"/>
          </a:xfrm>
          <a:prstGeom prst="rect">
            <a:avLst/>
          </a:prstGeom>
          <a:solidFill>
            <a:srgbClr val="8EC02F"/>
          </a:solidFill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FFFFFF"/>
                </a:solidFill>
                <a:latin typeface="+mj-lt"/>
              </a:rPr>
              <a:t>Realtime</a:t>
            </a:r>
            <a:r>
              <a:rPr lang="en-US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schermen</a:t>
            </a:r>
            <a:r>
              <a:rPr lang="en-US" dirty="0">
                <a:solidFill>
                  <a:srgbClr val="FFFFFF"/>
                </a:solidFill>
                <a:latin typeface="+mj-lt"/>
              </a:rPr>
              <a:t> in de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controlekamer</a:t>
            </a:r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26971" y="1473629"/>
            <a:ext cx="3646373" cy="36933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FFFF"/>
                </a:solidFill>
                <a:latin typeface="+mj-lt"/>
              </a:rPr>
              <a:t>Management van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stoomextractie</a:t>
            </a:r>
            <a:endParaRPr lang="en-US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7836" y="4075323"/>
            <a:ext cx="5906164" cy="2156474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4" name="Rechthoek 3"/>
          <p:cNvSpPr/>
          <p:nvPr/>
        </p:nvSpPr>
        <p:spPr bwMode="auto">
          <a:xfrm>
            <a:off x="5175488" y="4239108"/>
            <a:ext cx="90012" cy="9001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" name="Rechthoek 8"/>
          <p:cNvSpPr/>
          <p:nvPr/>
        </p:nvSpPr>
        <p:spPr bwMode="auto">
          <a:xfrm>
            <a:off x="8262492" y="4239108"/>
            <a:ext cx="90012" cy="97401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0" name="Rechthoek 9"/>
          <p:cNvSpPr/>
          <p:nvPr/>
        </p:nvSpPr>
        <p:spPr bwMode="auto">
          <a:xfrm>
            <a:off x="3851904" y="5769312"/>
            <a:ext cx="180024" cy="18002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61426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20121204_ gain chez Prayon.gif"/>
          <p:cNvPicPr>
            <a:picLocks noGrp="1" noChangeAspect="1"/>
          </p:cNvPicPr>
          <p:nvPr>
            <p:ph sz="half" idx="10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99" r="-243" b="67601"/>
          <a:stretch/>
        </p:blipFill>
        <p:spPr>
          <a:xfrm>
            <a:off x="141032" y="1418734"/>
            <a:ext cx="8843010" cy="39937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Image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945857">
            <a:off x="4900395" y="4638700"/>
            <a:ext cx="1599982" cy="20868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17962">
            <a:off x="6044283" y="4502078"/>
            <a:ext cx="1523048" cy="19902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Espace réservé du contenu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050125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56593" y="3867854"/>
            <a:ext cx="1917895" cy="1477328"/>
          </a:xfrm>
          <a:prstGeom prst="rect">
            <a:avLst/>
          </a:prstGeom>
          <a:solidFill>
            <a:srgbClr val="8EC02F"/>
          </a:solidFill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FFFFFF"/>
                </a:solidFill>
                <a:latin typeface="+mj-lt"/>
              </a:rPr>
              <a:t>Periodieke</a:t>
            </a:r>
            <a:r>
              <a:rPr lang="en-US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rapportering</a:t>
            </a:r>
            <a:r>
              <a:rPr lang="en-US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voor</a:t>
            </a:r>
            <a:r>
              <a:rPr lang="en-US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+mj-lt"/>
              </a:rPr>
              <a:t>meestergasten</a:t>
            </a:r>
            <a:r>
              <a:rPr lang="en-US" dirty="0">
                <a:solidFill>
                  <a:srgbClr val="FFFFFF"/>
                </a:solidFill>
                <a:latin typeface="+mj-lt"/>
              </a:rPr>
              <a:t> en management</a:t>
            </a:r>
          </a:p>
        </p:txBody>
      </p:sp>
    </p:spTree>
    <p:extLst>
      <p:ext uri="{BB962C8B-B14F-4D97-AF65-F5344CB8AC3E}">
        <p14:creationId xmlns:p14="http://schemas.microsoft.com/office/powerpoint/2010/main" val="38853055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3"/>
          <p:cNvPicPr>
            <a:picLocks noGrp="1" noChangeAspect="1"/>
          </p:cNvPicPr>
          <p:nvPr>
            <p:ph type="pic" sz="quarter" idx="15"/>
          </p:nvPr>
        </p:nvPicPr>
        <p:blipFill>
          <a:blip r:embed="rId4"/>
          <a:srcRect t="3012" b="3012"/>
          <a:stretch>
            <a:fillRect/>
          </a:stretch>
        </p:blipFill>
        <p:spPr>
          <a:xfrm>
            <a:off x="766399" y="1598512"/>
            <a:ext cx="7639837" cy="4015307"/>
          </a:xfrm>
        </p:spPr>
      </p:pic>
      <p:pic>
        <p:nvPicPr>
          <p:cNvPr id="6" name="Picture 2" descr="PP01_EM_screenshots_improve_R1.jpg"/>
          <p:cNvPicPr>
            <a:picLocks noGrp="1" noChangeAspect="1"/>
          </p:cNvPicPr>
          <p:nvPr>
            <p:custDataLst>
              <p:tags r:id="rId1"/>
            </p:custDataLst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9" t="3072" r="5498" b="5069"/>
          <a:stretch/>
        </p:blipFill>
        <p:spPr bwMode="auto">
          <a:xfrm>
            <a:off x="2545197" y="2062440"/>
            <a:ext cx="934238" cy="801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</p:pic>
      <p:graphicFrame>
        <p:nvGraphicFramePr>
          <p:cNvPr id="7" name="Espace réservé du contenu 3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2575874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04335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3" descr="20121204_ gain chez Prayon.gif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99" t="-3" r="-243" b="4994"/>
          <a:stretch/>
        </p:blipFill>
        <p:spPr>
          <a:xfrm>
            <a:off x="3001299" y="2463463"/>
            <a:ext cx="1805156" cy="22663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Placeholder 3"/>
          <p:cNvPicPr>
            <a:picLocks noGrp="1" noChangeAspect="1"/>
          </p:cNvPicPr>
          <p:nvPr>
            <p:ph type="pic" sz="quarter" idx="15"/>
          </p:nvPr>
        </p:nvPicPr>
        <p:blipFill>
          <a:blip r:embed="rId5"/>
          <a:srcRect t="3012" b="3012"/>
          <a:stretch>
            <a:fillRect/>
          </a:stretch>
        </p:blipFill>
        <p:spPr>
          <a:xfrm>
            <a:off x="5664876" y="4729845"/>
            <a:ext cx="2140220" cy="1124846"/>
          </a:xfrm>
        </p:spPr>
      </p:pic>
      <p:pic>
        <p:nvPicPr>
          <p:cNvPr id="8" name="Picture 7" descr="Capture d’écran 2014-02-07 à 12.14.43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4876" y="2972125"/>
            <a:ext cx="2353016" cy="1421595"/>
          </a:xfrm>
          <a:prstGeom prst="rect">
            <a:avLst/>
          </a:prstGeom>
        </p:spPr>
      </p:pic>
      <p:pic>
        <p:nvPicPr>
          <p:cNvPr id="10" name="Content Placeholder 3" descr="Capture d’écran 2014-02-07 à 11.41.30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2" r="262"/>
          <a:stretch>
            <a:fillRect/>
          </a:stretch>
        </p:blipFill>
        <p:spPr>
          <a:xfrm>
            <a:off x="5664877" y="1107642"/>
            <a:ext cx="2368563" cy="1485975"/>
          </a:xfrm>
          <a:prstGeom prst="rect">
            <a:avLst/>
          </a:prstGeom>
        </p:spPr>
      </p:pic>
      <p:sp>
        <p:nvSpPr>
          <p:cNvPr id="11" name="Can 10"/>
          <p:cNvSpPr/>
          <p:nvPr/>
        </p:nvSpPr>
        <p:spPr bwMode="auto">
          <a:xfrm>
            <a:off x="710891" y="2759927"/>
            <a:ext cx="1281577" cy="1633793"/>
          </a:xfrm>
          <a:prstGeom prst="can">
            <a:avLst/>
          </a:prstGeom>
          <a:solidFill>
            <a:schemeClr val="accent1"/>
          </a:solidFill>
          <a:ln w="254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9" tIns="45719" rIns="91439" bIns="45719" numCol="1" rtlCol="0" anchor="t" anchorCtr="0" compatLnSpc="1">
            <a:prstTxWarp prst="textNoShape">
              <a:avLst/>
            </a:prstTxWarp>
          </a:bodyPr>
          <a:lstStyle/>
          <a:p>
            <a:pPr algn="ctr" defTabSz="914391"/>
            <a:r>
              <a:rPr lang="en-US" dirty="0" err="1" smtClean="0">
                <a:solidFill>
                  <a:srgbClr val="D5EDF4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Actuele</a:t>
            </a:r>
            <a:r>
              <a:rPr lang="en-US" dirty="0" smtClean="0">
                <a:solidFill>
                  <a:srgbClr val="D5EDF4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data</a:t>
            </a:r>
            <a:endParaRPr lang="en-US" dirty="0">
              <a:solidFill>
                <a:srgbClr val="D5EDF4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2" name="Right Arrow 11"/>
          <p:cNvSpPr/>
          <p:nvPr/>
        </p:nvSpPr>
        <p:spPr bwMode="auto">
          <a:xfrm>
            <a:off x="2156682" y="3394102"/>
            <a:ext cx="766333" cy="416051"/>
          </a:xfrm>
          <a:prstGeom prst="rightArrow">
            <a:avLst/>
          </a:prstGeom>
          <a:solidFill>
            <a:schemeClr val="accent1"/>
          </a:solidFill>
          <a:ln w="2540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9" tIns="45719" rIns="91439" bIns="45719" numCol="1" rtlCol="0" anchor="t" anchorCtr="0" compatLnSpc="1">
            <a:prstTxWarp prst="textNoShape">
              <a:avLst/>
            </a:prstTxWarp>
          </a:bodyPr>
          <a:lstStyle/>
          <a:p>
            <a:pPr defTabSz="914391"/>
            <a:endParaRPr lang="en-US" sz="243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19979657">
            <a:off x="4622022" y="1714114"/>
            <a:ext cx="766333" cy="416051"/>
          </a:xfrm>
          <a:prstGeom prst="rightArrow">
            <a:avLst/>
          </a:prstGeom>
          <a:solidFill>
            <a:schemeClr val="accent1"/>
          </a:solidFill>
          <a:ln w="254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9" tIns="45719" rIns="91439" bIns="45719" numCol="1" rtlCol="0" anchor="t" anchorCtr="0" compatLnSpc="1">
            <a:prstTxWarp prst="textNoShape">
              <a:avLst/>
            </a:prstTxWarp>
          </a:bodyPr>
          <a:lstStyle/>
          <a:p>
            <a:pPr defTabSz="914391"/>
            <a:endParaRPr lang="en-US" sz="243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4" name="Right Arrow 13"/>
          <p:cNvSpPr/>
          <p:nvPr/>
        </p:nvSpPr>
        <p:spPr bwMode="auto">
          <a:xfrm flipV="1">
            <a:off x="4888209" y="3180082"/>
            <a:ext cx="766333" cy="471833"/>
          </a:xfrm>
          <a:prstGeom prst="rightArrow">
            <a:avLst/>
          </a:prstGeom>
          <a:solidFill>
            <a:schemeClr val="accent1"/>
          </a:solidFill>
          <a:ln w="2540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9" tIns="45719" rIns="91439" bIns="45719" numCol="1" rtlCol="0" anchor="t" anchorCtr="0" compatLnSpc="1">
            <a:prstTxWarp prst="textNoShape">
              <a:avLst/>
            </a:prstTxWarp>
          </a:bodyPr>
          <a:lstStyle/>
          <a:p>
            <a:pPr defTabSz="914391"/>
            <a:endParaRPr lang="en-US" sz="243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5" name="Right Arrow 14"/>
          <p:cNvSpPr/>
          <p:nvPr/>
        </p:nvSpPr>
        <p:spPr bwMode="auto">
          <a:xfrm rot="2239026" flipV="1">
            <a:off x="4871037" y="4909095"/>
            <a:ext cx="766333" cy="471833"/>
          </a:xfrm>
          <a:prstGeom prst="rightArrow">
            <a:avLst/>
          </a:prstGeom>
          <a:solidFill>
            <a:schemeClr val="accent1"/>
          </a:solidFill>
          <a:ln w="2540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9" tIns="45719" rIns="91439" bIns="45719" numCol="1" rtlCol="0" anchor="t" anchorCtr="0" compatLnSpc="1">
            <a:prstTxWarp prst="textNoShape">
              <a:avLst/>
            </a:prstTxWarp>
          </a:bodyPr>
          <a:lstStyle/>
          <a:p>
            <a:pPr defTabSz="914391"/>
            <a:endParaRPr lang="en-US" sz="243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16" name="Rectangular Callout 13"/>
          <p:cNvSpPr/>
          <p:nvPr>
            <p:custDataLst>
              <p:tags r:id="rId1"/>
            </p:custDataLst>
          </p:nvPr>
        </p:nvSpPr>
        <p:spPr bwMode="auto">
          <a:xfrm>
            <a:off x="1519859" y="5292268"/>
            <a:ext cx="2857385" cy="1283865"/>
          </a:xfrm>
          <a:prstGeom prst="wedgeRectCallout">
            <a:avLst>
              <a:gd name="adj1" fmla="val -41707"/>
              <a:gd name="adj2" fmla="val -120588"/>
            </a:avLst>
          </a:prstGeom>
          <a:ln>
            <a:solidFill>
              <a:schemeClr val="accent5"/>
            </a:solidFill>
            <a:headEnd type="none" w="med" len="med"/>
            <a:tailEnd type="none" w="med" len="med"/>
          </a:ln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19998" tIns="50799" rIns="119998" bIns="5079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15979"/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De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meest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recente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data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wordt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geanalyseerd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om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voorspellende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modellen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aan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te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passen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en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root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cause analyse met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nieuwe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wijzigingen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in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het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 </a:t>
            </a:r>
            <a:r>
              <a:rPr lang="fr-CA" sz="1440" dirty="0" err="1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gebruik</a:t>
            </a:r>
            <a:r>
              <a:rPr lang="fr-CA" sz="1440" dirty="0">
                <a:solidFill>
                  <a:srgbClr val="0000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. </a:t>
            </a:r>
          </a:p>
        </p:txBody>
      </p:sp>
      <p:graphicFrame>
        <p:nvGraphicFramePr>
          <p:cNvPr id="17" name="Espace réservé du contenu 3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474146"/>
              </p:ext>
            </p:extLst>
          </p:nvPr>
        </p:nvGraphicFramePr>
        <p:xfrm>
          <a:off x="386018" y="144975"/>
          <a:ext cx="8424072" cy="102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1287101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Resultaten</a:t>
            </a:r>
          </a:p>
          <a:p>
            <a:r>
              <a:rPr lang="nl-BE" dirty="0" smtClean="0"/>
              <a:t>Specifiek stoomverbruik</a:t>
            </a:r>
            <a:endParaRPr lang="nl-BE" dirty="0"/>
          </a:p>
        </p:txBody>
      </p:sp>
      <p:pic>
        <p:nvPicPr>
          <p:cNvPr id="6" name="Tijdelijke aanduiding voor inhoud 5"/>
          <p:cNvPicPr>
            <a:picLocks noGrp="1" noChangeAspect="1"/>
          </p:cNvPicPr>
          <p:nvPr>
            <p:ph sz="half" idx="10"/>
          </p:nvPr>
        </p:nvPicPr>
        <p:blipFill>
          <a:blip r:embed="rId2"/>
          <a:stretch>
            <a:fillRect/>
          </a:stretch>
        </p:blipFill>
        <p:spPr>
          <a:xfrm>
            <a:off x="1966935" y="2119913"/>
            <a:ext cx="6507435" cy="3522574"/>
          </a:xfrm>
          <a:prstGeom prst="rect">
            <a:avLst/>
          </a:prstGeom>
        </p:spPr>
      </p:pic>
      <p:sp>
        <p:nvSpPr>
          <p:cNvPr id="7" name="Rechthoek 6"/>
          <p:cNvSpPr/>
          <p:nvPr/>
        </p:nvSpPr>
        <p:spPr bwMode="auto">
          <a:xfrm>
            <a:off x="2388373" y="5461633"/>
            <a:ext cx="5939625" cy="304138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nl-BE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8" name="TextBox 14"/>
          <p:cNvSpPr txBox="1"/>
          <p:nvPr/>
        </p:nvSpPr>
        <p:spPr>
          <a:xfrm>
            <a:off x="4246499" y="5637590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pecifiek</a:t>
            </a:r>
            <a:r>
              <a:rPr lang="en-US" sz="14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toomverbruik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TextBox 2"/>
          <p:cNvSpPr txBox="1"/>
          <p:nvPr/>
        </p:nvSpPr>
        <p:spPr>
          <a:xfrm rot="16200000">
            <a:off x="508653" y="3572342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antal</a:t>
            </a:r>
            <a:r>
              <a:rPr lang="en-US" sz="14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ren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0" name="Rectangular Callout 15"/>
          <p:cNvSpPr/>
          <p:nvPr/>
        </p:nvSpPr>
        <p:spPr bwMode="auto">
          <a:xfrm>
            <a:off x="6388725" y="708056"/>
            <a:ext cx="2085645" cy="777880"/>
          </a:xfrm>
          <a:prstGeom prst="wedgeRectCallout">
            <a:avLst>
              <a:gd name="adj1" fmla="val -86225"/>
              <a:gd name="adj2" fmla="val 203363"/>
            </a:avLst>
          </a:prstGeom>
          <a:solidFill>
            <a:srgbClr val="FFFFFF"/>
          </a:solidFill>
          <a:ln>
            <a:solidFill>
              <a:srgbClr val="81CA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7200" tIns="41148" rIns="97200" bIns="41148" numCol="1" rtlCol="0" anchor="ctr" anchorCtr="0" compatLnSpc="1">
            <a:prstTxWarp prst="textNoShape">
              <a:avLst/>
            </a:prstTxWarp>
          </a:bodyPr>
          <a:lstStyle/>
          <a:p>
            <a:pPr algn="ctr" defTabSz="822960" eaLnBrk="1" hangingPunct="1"/>
            <a:r>
              <a:rPr lang="nl-BE" sz="1440" dirty="0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Daling gemiddeld specifiek stoomverbruik</a:t>
            </a:r>
            <a:endParaRPr lang="en-US" sz="1440" dirty="0">
              <a:solidFill>
                <a:srgbClr val="81CA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cxnSp>
        <p:nvCxnSpPr>
          <p:cNvPr id="12" name="Rechte verbindingslijn met pijl 11"/>
          <p:cNvCxnSpPr/>
          <p:nvPr/>
        </p:nvCxnSpPr>
        <p:spPr bwMode="auto">
          <a:xfrm flipH="1" flipV="1">
            <a:off x="5321808" y="2705481"/>
            <a:ext cx="573091" cy="492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Rechte verbindingslijn met pijl 15"/>
          <p:cNvCxnSpPr/>
          <p:nvPr/>
        </p:nvCxnSpPr>
        <p:spPr bwMode="auto">
          <a:xfrm flipV="1">
            <a:off x="4924044" y="3292541"/>
            <a:ext cx="795528" cy="685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8" name="Rechte verbindingslijn met pijl 17"/>
          <p:cNvCxnSpPr/>
          <p:nvPr/>
        </p:nvCxnSpPr>
        <p:spPr bwMode="auto">
          <a:xfrm flipV="1">
            <a:off x="5321808" y="3559302"/>
            <a:ext cx="1131570" cy="1110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0" name="Rectangular Callout 15"/>
          <p:cNvSpPr/>
          <p:nvPr/>
        </p:nvSpPr>
        <p:spPr bwMode="auto">
          <a:xfrm>
            <a:off x="7058356" y="2528863"/>
            <a:ext cx="1767891" cy="353237"/>
          </a:xfrm>
          <a:prstGeom prst="wedgeRectCallout">
            <a:avLst>
              <a:gd name="adj1" fmla="val -103324"/>
              <a:gd name="adj2" fmla="val 246798"/>
            </a:avLst>
          </a:prstGeom>
          <a:solidFill>
            <a:srgbClr val="FFFFFF"/>
          </a:solidFill>
          <a:ln>
            <a:solidFill>
              <a:srgbClr val="81CA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7200" tIns="41148" rIns="97200" bIns="41148" numCol="1" rtlCol="0" anchor="ctr" anchorCtr="0" compatLnSpc="1">
            <a:prstTxWarp prst="textNoShape">
              <a:avLst/>
            </a:prstTxWarp>
          </a:bodyPr>
          <a:lstStyle/>
          <a:p>
            <a:pPr algn="ctr" defTabSz="822960" eaLnBrk="1" hangingPunct="1"/>
            <a:r>
              <a:rPr lang="nl-BE" sz="1440" dirty="0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Afname variabiliteit</a:t>
            </a:r>
            <a:endParaRPr lang="en-US" sz="1440" dirty="0">
              <a:solidFill>
                <a:srgbClr val="81CA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4927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/>
              <a:t>Resultaten</a:t>
            </a:r>
          </a:p>
          <a:p>
            <a:r>
              <a:rPr lang="nl-BE" dirty="0"/>
              <a:t>Specifiek stoomverbruik</a:t>
            </a:r>
          </a:p>
          <a:p>
            <a:endParaRPr lang="nl-BE" dirty="0"/>
          </a:p>
        </p:txBody>
      </p:sp>
      <p:pic>
        <p:nvPicPr>
          <p:cNvPr id="4" name="Tijdelijke aanduiding voor inhoud 3"/>
          <p:cNvPicPr>
            <a:picLocks noGrp="1" noChangeAspect="1"/>
          </p:cNvPicPr>
          <p:nvPr>
            <p:ph sz="half" idx="10"/>
          </p:nvPr>
        </p:nvPicPr>
        <p:blipFill>
          <a:blip r:embed="rId2"/>
          <a:stretch>
            <a:fillRect/>
          </a:stretch>
        </p:blipFill>
        <p:spPr>
          <a:xfrm>
            <a:off x="2101364" y="1996458"/>
            <a:ext cx="6238578" cy="3769484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 bwMode="auto">
          <a:xfrm>
            <a:off x="1885950" y="2180844"/>
            <a:ext cx="411480" cy="3585097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nl-BE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6" name="TextBox 14"/>
          <p:cNvSpPr txBox="1"/>
          <p:nvPr/>
        </p:nvSpPr>
        <p:spPr>
          <a:xfrm>
            <a:off x="4089768" y="5765941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roductie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7" name="TextBox 2"/>
          <p:cNvSpPr txBox="1"/>
          <p:nvPr/>
        </p:nvSpPr>
        <p:spPr>
          <a:xfrm rot="16200000">
            <a:off x="736273" y="3538052"/>
            <a:ext cx="2457836" cy="313930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algn="ctr"/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pecifiek</a:t>
            </a:r>
            <a:r>
              <a:rPr lang="en-US" sz="14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</a:t>
            </a:r>
            <a:r>
              <a:rPr lang="en-US" sz="144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toomverbruik</a:t>
            </a:r>
            <a:endParaRPr lang="en-US" sz="144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499527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smtClean="0"/>
              <a:t>RESULTATEN</a:t>
            </a:r>
          </a:p>
          <a:p>
            <a:r>
              <a:rPr lang="nl-BE" dirty="0" smtClean="0"/>
              <a:t>Besparing </a:t>
            </a:r>
            <a:r>
              <a:rPr lang="nl-BE" dirty="0" err="1" smtClean="0"/>
              <a:t>tov</a:t>
            </a:r>
            <a:r>
              <a:rPr lang="nl-BE" dirty="0" smtClean="0"/>
              <a:t> gemiddelde 2014</a:t>
            </a:r>
            <a:endParaRPr lang="nl-BE" dirty="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2"/>
          <a:srcRect t="1726" r="4278" b="5275"/>
          <a:stretch/>
        </p:blipFill>
        <p:spPr>
          <a:xfrm>
            <a:off x="1886248" y="1935058"/>
            <a:ext cx="6449502" cy="3891170"/>
          </a:xfrm>
          <a:prstGeom prst="rect">
            <a:avLst/>
          </a:prstGeom>
        </p:spPr>
      </p:pic>
      <p:sp>
        <p:nvSpPr>
          <p:cNvPr id="5" name="Rectangular Callout 11"/>
          <p:cNvSpPr/>
          <p:nvPr/>
        </p:nvSpPr>
        <p:spPr bwMode="auto">
          <a:xfrm>
            <a:off x="5110998" y="4119969"/>
            <a:ext cx="2828677" cy="871537"/>
          </a:xfrm>
          <a:prstGeom prst="wedgeRectCallout">
            <a:avLst>
              <a:gd name="adj1" fmla="val 34559"/>
              <a:gd name="adj2" fmla="val -231825"/>
            </a:avLst>
          </a:prstGeom>
          <a:solidFill>
            <a:srgbClr val="FFFFFF"/>
          </a:solidFill>
          <a:ln>
            <a:solidFill>
              <a:srgbClr val="81CA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7200" tIns="41148" rIns="97200" bIns="41148" numCol="1" rtlCol="0" anchor="ctr" anchorCtr="0" compatLnSpc="1">
            <a:prstTxWarp prst="textNoShape">
              <a:avLst/>
            </a:prstTxWarp>
          </a:bodyPr>
          <a:lstStyle/>
          <a:p>
            <a:pPr algn="ctr" defTabSz="822960" eaLnBrk="1" hangingPunct="1"/>
            <a:r>
              <a:rPr lang="nl-BE" sz="1440" dirty="0">
                <a:solidFill>
                  <a:srgbClr val="81CA00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gecumuleerde besparing: 6.800 ton stoom op 6 maanden of 272.000 EUR/jaar</a:t>
            </a:r>
            <a:endParaRPr lang="en-US" sz="1440" dirty="0">
              <a:solidFill>
                <a:srgbClr val="81CA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6" name="Rechthoek 5"/>
          <p:cNvSpPr/>
          <p:nvPr/>
        </p:nvSpPr>
        <p:spPr bwMode="auto">
          <a:xfrm>
            <a:off x="3415284" y="2036826"/>
            <a:ext cx="1001268" cy="212598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nl-BE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6012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mtClean="0"/>
              <a:t>Voorstelling Prayon</a:t>
            </a:r>
            <a:endParaRPr lang="en-GB" dirty="0"/>
          </a:p>
        </p:txBody>
      </p:sp>
      <p:pic>
        <p:nvPicPr>
          <p:cNvPr id="7" name="Tijdelijke aanduiding voor inhoud 6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01484" y="1701289"/>
            <a:ext cx="7391400" cy="3867150"/>
          </a:xfrm>
        </p:spPr>
      </p:pic>
      <p:sp>
        <p:nvSpPr>
          <p:cNvPr id="9" name="Tekstvak 8"/>
          <p:cNvSpPr txBox="1"/>
          <p:nvPr/>
        </p:nvSpPr>
        <p:spPr>
          <a:xfrm>
            <a:off x="2465917" y="5796756"/>
            <a:ext cx="57659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 smtClean="0">
                <a:solidFill>
                  <a:srgbClr val="1A3750"/>
                </a:solidFill>
                <a:latin typeface="+mj-lt"/>
              </a:rPr>
              <a:t>Afdelingen Puurs:</a:t>
            </a:r>
          </a:p>
          <a:p>
            <a:pPr marL="285750" indent="-285750">
              <a:buFontTx/>
              <a:buChar char="-"/>
            </a:pPr>
            <a:r>
              <a:rPr lang="nl-BE" dirty="0" smtClean="0">
                <a:solidFill>
                  <a:srgbClr val="1A3750"/>
                </a:solidFill>
                <a:latin typeface="+mj-lt"/>
              </a:rPr>
              <a:t>Zuiverzuur: indamping + solventextractie</a:t>
            </a:r>
          </a:p>
          <a:p>
            <a:pPr marL="285750" indent="-285750">
              <a:buFontTx/>
              <a:buChar char="-"/>
            </a:pPr>
            <a:r>
              <a:rPr lang="nl-BE" dirty="0" smtClean="0">
                <a:solidFill>
                  <a:srgbClr val="1A3750"/>
                </a:solidFill>
                <a:latin typeface="+mj-lt"/>
              </a:rPr>
              <a:t>Fluor &amp; Fosfaatzouten</a:t>
            </a:r>
            <a:endParaRPr lang="en-GB" dirty="0">
              <a:solidFill>
                <a:srgbClr val="1A375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57820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Vragen</a:t>
            </a:r>
            <a:r>
              <a:rPr lang="en-GB" dirty="0" smtClean="0"/>
              <a:t>?</a:t>
            </a:r>
          </a:p>
        </p:txBody>
      </p:sp>
      <p:sp>
        <p:nvSpPr>
          <p:cNvPr id="7171" name="Rectangle 7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Vragenrond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err="1" smtClean="0"/>
              <a:t>Contacteer</a:t>
            </a:r>
            <a:r>
              <a:rPr lang="en-US" dirty="0" smtClean="0"/>
              <a:t> </a:t>
            </a:r>
            <a:r>
              <a:rPr lang="en-US" dirty="0" err="1" smtClean="0"/>
              <a:t>ons</a:t>
            </a:r>
            <a:r>
              <a:rPr lang="en-US" dirty="0" smtClean="0"/>
              <a:t> via:</a:t>
            </a:r>
          </a:p>
          <a:p>
            <a:pPr lvl="1"/>
            <a:r>
              <a:rPr lang="en-US" dirty="0" smtClean="0"/>
              <a:t>Valérie de Groote – 0479 / 239 009</a:t>
            </a:r>
          </a:p>
          <a:p>
            <a:pPr lvl="1"/>
            <a:r>
              <a:rPr lang="en-US" dirty="0" smtClean="0">
                <a:hlinkClick r:id="rId2"/>
              </a:rPr>
              <a:t>valerie.degroote@indea.be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>
                <a:hlinkClick r:id="rId3"/>
              </a:rPr>
              <a:t>www.indea.be</a:t>
            </a:r>
            <a:r>
              <a:rPr lang="en-US" dirty="0" smtClean="0"/>
              <a:t> </a:t>
            </a:r>
          </a:p>
          <a:p>
            <a:pPr marL="0" indent="0">
              <a:buNone/>
            </a:pPr>
            <a:r>
              <a:rPr lang="nl-BE" dirty="0" smtClean="0"/>
              <a:t>		</a:t>
            </a:r>
          </a:p>
          <a:p>
            <a:r>
              <a:rPr lang="en-US" dirty="0" smtClean="0"/>
              <a:t>DANK VOOR UW AANDACHT !</a:t>
            </a:r>
          </a:p>
        </p:txBody>
      </p:sp>
      <p:sp>
        <p:nvSpPr>
          <p:cNvPr id="7173" name="Tijdelijke aanduiding voor dianummer 14"/>
          <p:cNvSpPr txBox="1">
            <a:spLocks noGrp="1"/>
          </p:cNvSpPr>
          <p:nvPr/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775C7952-657E-4D18-9475-5B87138073F5}" type="slidenum">
              <a:rPr lang="nl-NL" sz="1400"/>
              <a:pPr algn="r" eaLnBrk="1" hangingPunct="1"/>
              <a:t>30</a:t>
            </a:fld>
            <a:endParaRPr lang="nl-NL" sz="1400" dirty="0"/>
          </a:p>
        </p:txBody>
      </p:sp>
      <p:pic>
        <p:nvPicPr>
          <p:cNvPr id="6" name="Picture 5" descr="C:\Users\Valérie\AppData\Local\Microsoft\Windows\Temporary Internet Files\Content.IE5\14JWN2JG\MPj04018280000[1]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00813" y="1748167"/>
            <a:ext cx="2081212" cy="312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" descr="voorkant%20boe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536" y="1637188"/>
            <a:ext cx="2373312" cy="338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81355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err="1"/>
              <a:t>ENERGYmaestro</a:t>
            </a:r>
            <a:r>
              <a:rPr lang="nl-BE" dirty="0"/>
              <a:t>: een </a:t>
            </a:r>
            <a:r>
              <a:rPr lang="nl-BE" dirty="0" smtClean="0"/>
              <a:t>methodologie</a:t>
            </a:r>
            <a:endParaRPr lang="en-GB" dirty="0"/>
          </a:p>
        </p:txBody>
      </p:sp>
      <p:pic>
        <p:nvPicPr>
          <p:cNvPr id="7" name="Picture Placeholder 6" descr="website pepite.tiff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761" y="1600200"/>
            <a:ext cx="8088478" cy="4525963"/>
          </a:xfrm>
        </p:spPr>
      </p:pic>
      <p:sp>
        <p:nvSpPr>
          <p:cNvPr id="9" name="Rectangle 8"/>
          <p:cNvSpPr/>
          <p:nvPr/>
        </p:nvSpPr>
        <p:spPr bwMode="auto">
          <a:xfrm>
            <a:off x="5382108" y="3783828"/>
            <a:ext cx="3115850" cy="2342335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en-US" sz="2160"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grpSp>
        <p:nvGrpSpPr>
          <p:cNvPr id="3" name="Groep 2"/>
          <p:cNvGrpSpPr/>
          <p:nvPr/>
        </p:nvGrpSpPr>
        <p:grpSpPr>
          <a:xfrm>
            <a:off x="5660889" y="4139394"/>
            <a:ext cx="2558288" cy="1631201"/>
            <a:chOff x="6190641" y="3520873"/>
            <a:chExt cx="3732369" cy="2302541"/>
          </a:xfrm>
        </p:grpSpPr>
        <p:pic>
          <p:nvPicPr>
            <p:cNvPr id="10" name="Picture 9" descr="logo-prayon-baseline.jpg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90641" y="3520873"/>
              <a:ext cx="1040695" cy="1239430"/>
            </a:xfrm>
            <a:prstGeom prst="rect">
              <a:avLst/>
            </a:prstGeom>
          </p:spPr>
        </p:pic>
        <p:pic>
          <p:nvPicPr>
            <p:cNvPr id="11" name="Picture 25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3092" y="4823050"/>
              <a:ext cx="1631496" cy="10003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1" descr="L_Resolute_desc_Verti_2c.eps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994" t="8946" r="8578" b="9644"/>
            <a:stretch/>
          </p:blipFill>
          <p:spPr>
            <a:xfrm>
              <a:off x="7400482" y="3527140"/>
              <a:ext cx="1387592" cy="1202580"/>
            </a:xfrm>
            <a:prstGeom prst="rect">
              <a:avLst/>
            </a:prstGeom>
          </p:spPr>
        </p:pic>
        <p:pic>
          <p:nvPicPr>
            <p:cNvPr id="13" name="Picture 17" descr="LOGO_TOTAL.jpg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80721" y="3547284"/>
              <a:ext cx="942289" cy="1147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476255" y="4896003"/>
              <a:ext cx="965221" cy="6486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576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Methodologie</a:t>
            </a:r>
            <a:endParaRPr lang="en-GB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4307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3374665" y="1298930"/>
            <a:ext cx="1503680" cy="1503680"/>
          </a:xfrm>
          <a:prstGeom prst="ellipse">
            <a:avLst/>
          </a:prstGeom>
          <a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986" b="3151"/>
            </a:stretch>
          </a:blipFill>
          <a:ln w="28575" cmpd="sng">
            <a:solidFill>
              <a:schemeClr val="accent1"/>
            </a:solidFill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lIns="91434" tIns="45716" rIns="91434" bIns="45716"/>
          <a:lstStyle/>
          <a:p>
            <a:pPr>
              <a:defRPr/>
            </a:pP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1214004" y="2459616"/>
            <a:ext cx="1503363" cy="1503362"/>
          </a:xfrm>
          <a:prstGeom prst="ellipse">
            <a:avLst/>
          </a:prstGeom>
          <a:blipFill rotWithShape="1">
            <a:blip r:embed="rId4"/>
            <a:srcRect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Oval 7"/>
          <p:cNvSpPr/>
          <p:nvPr/>
        </p:nvSpPr>
        <p:spPr>
          <a:xfrm>
            <a:off x="5606914" y="2451058"/>
            <a:ext cx="1503680" cy="1503680"/>
          </a:xfrm>
          <a:prstGeom prst="ellipse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elstelling</a:t>
            </a:r>
            <a:r>
              <a:rPr lang="en-US" dirty="0"/>
              <a:t>: </a:t>
            </a:r>
            <a:r>
              <a:rPr lang="en-US" dirty="0" err="1"/>
              <a:t>operationele</a:t>
            </a:r>
            <a:r>
              <a:rPr lang="en-US" dirty="0"/>
              <a:t> </a:t>
            </a:r>
            <a:r>
              <a:rPr lang="en-US" dirty="0" err="1"/>
              <a:t>energiekosten</a:t>
            </a:r>
            <a:r>
              <a:rPr lang="en-US" dirty="0"/>
              <a:t> </a:t>
            </a:r>
            <a:r>
              <a:rPr lang="en-US" dirty="0" err="1" smtClean="0"/>
              <a:t>reduceren</a:t>
            </a:r>
            <a:endParaRPr lang="en-GB" dirty="0"/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15190086"/>
              </p:ext>
            </p:extLst>
          </p:nvPr>
        </p:nvGraphicFramePr>
        <p:xfrm>
          <a:off x="313871" y="2671152"/>
          <a:ext cx="7625268" cy="40268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9" name="Freeform 28"/>
          <p:cNvSpPr/>
          <p:nvPr/>
        </p:nvSpPr>
        <p:spPr>
          <a:xfrm>
            <a:off x="2980000" y="1687425"/>
            <a:ext cx="4468716" cy="4927687"/>
          </a:xfrm>
          <a:custGeom>
            <a:avLst/>
            <a:gdLst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3007557 w 5519334"/>
              <a:gd name="connsiteY8" fmla="*/ 2088444 h 5178778"/>
              <a:gd name="connsiteX9" fmla="*/ 2951112 w 5519334"/>
              <a:gd name="connsiteY9" fmla="*/ 2130778 h 5178778"/>
              <a:gd name="connsiteX10" fmla="*/ 2852334 w 5519334"/>
              <a:gd name="connsiteY10" fmla="*/ 2229555 h 5178778"/>
              <a:gd name="connsiteX11" fmla="*/ 2654779 w 5519334"/>
              <a:gd name="connsiteY11" fmla="*/ 2398889 h 5178778"/>
              <a:gd name="connsiteX12" fmla="*/ 2330223 w 5519334"/>
              <a:gd name="connsiteY12" fmla="*/ 2667000 h 5178778"/>
              <a:gd name="connsiteX13" fmla="*/ 2118557 w 5519334"/>
              <a:gd name="connsiteY13" fmla="*/ 2751667 h 5178778"/>
              <a:gd name="connsiteX14" fmla="*/ 2033890 w 5519334"/>
              <a:gd name="connsiteY14" fmla="*/ 2765778 h 5178778"/>
              <a:gd name="connsiteX15" fmla="*/ 1723446 w 5519334"/>
              <a:gd name="connsiteY15" fmla="*/ 2808111 h 5178778"/>
              <a:gd name="connsiteX16" fmla="*/ 1286001 w 5519334"/>
              <a:gd name="connsiteY16" fmla="*/ 2850444 h 5178778"/>
              <a:gd name="connsiteX17" fmla="*/ 1017890 w 5519334"/>
              <a:gd name="connsiteY17" fmla="*/ 2892778 h 5178778"/>
              <a:gd name="connsiteX18" fmla="*/ 749779 w 5519334"/>
              <a:gd name="connsiteY18" fmla="*/ 2935111 h 5178778"/>
              <a:gd name="connsiteX19" fmla="*/ 707446 w 5519334"/>
              <a:gd name="connsiteY19" fmla="*/ 2963333 h 5178778"/>
              <a:gd name="connsiteX20" fmla="*/ 651001 w 5519334"/>
              <a:gd name="connsiteY20" fmla="*/ 3005667 h 5178778"/>
              <a:gd name="connsiteX21" fmla="*/ 453446 w 5519334"/>
              <a:gd name="connsiteY21" fmla="*/ 3118555 h 5178778"/>
              <a:gd name="connsiteX22" fmla="*/ 340557 w 5519334"/>
              <a:gd name="connsiteY22" fmla="*/ 3203222 h 5178778"/>
              <a:gd name="connsiteX23" fmla="*/ 171223 w 5519334"/>
              <a:gd name="connsiteY23" fmla="*/ 3414889 h 5178778"/>
              <a:gd name="connsiteX24" fmla="*/ 157112 w 5519334"/>
              <a:gd name="connsiteY24" fmla="*/ 3471333 h 5178778"/>
              <a:gd name="connsiteX25" fmla="*/ 16001 w 5519334"/>
              <a:gd name="connsiteY25" fmla="*/ 3781778 h 5178778"/>
              <a:gd name="connsiteX26" fmla="*/ 1890 w 5519334"/>
              <a:gd name="connsiteY26" fmla="*/ 3979333 h 5178778"/>
              <a:gd name="connsiteX27" fmla="*/ 72446 w 5519334"/>
              <a:gd name="connsiteY27" fmla="*/ 4275667 h 5178778"/>
              <a:gd name="connsiteX28" fmla="*/ 241779 w 5519334"/>
              <a:gd name="connsiteY28" fmla="*/ 4459111 h 5178778"/>
              <a:gd name="connsiteX29" fmla="*/ 524001 w 5519334"/>
              <a:gd name="connsiteY29" fmla="*/ 4670778 h 5178778"/>
              <a:gd name="connsiteX30" fmla="*/ 763890 w 5519334"/>
              <a:gd name="connsiteY30" fmla="*/ 4783667 h 5178778"/>
              <a:gd name="connsiteX31" fmla="*/ 1102557 w 5519334"/>
              <a:gd name="connsiteY31" fmla="*/ 4967111 h 5178778"/>
              <a:gd name="connsiteX32" fmla="*/ 1427112 w 5519334"/>
              <a:gd name="connsiteY32" fmla="*/ 5108222 h 5178778"/>
              <a:gd name="connsiteX33" fmla="*/ 1667001 w 5519334"/>
              <a:gd name="connsiteY33" fmla="*/ 5150555 h 5178778"/>
              <a:gd name="connsiteX34" fmla="*/ 2287890 w 5519334"/>
              <a:gd name="connsiteY34" fmla="*/ 5178778 h 5178778"/>
              <a:gd name="connsiteX35" fmla="*/ 3021668 w 5519334"/>
              <a:gd name="connsiteY35" fmla="*/ 5150555 h 5178778"/>
              <a:gd name="connsiteX36" fmla="*/ 3064001 w 5519334"/>
              <a:gd name="connsiteY36" fmla="*/ 5136444 h 5178778"/>
              <a:gd name="connsiteX37" fmla="*/ 3219223 w 5519334"/>
              <a:gd name="connsiteY37" fmla="*/ 5037667 h 5178778"/>
              <a:gd name="connsiteX38" fmla="*/ 3402668 w 5519334"/>
              <a:gd name="connsiteY38" fmla="*/ 4938889 h 5178778"/>
              <a:gd name="connsiteX39" fmla="*/ 3487334 w 5519334"/>
              <a:gd name="connsiteY39" fmla="*/ 4854222 h 5178778"/>
              <a:gd name="connsiteX40" fmla="*/ 3501446 w 5519334"/>
              <a:gd name="connsiteY40" fmla="*/ 4783667 h 5178778"/>
              <a:gd name="connsiteX41" fmla="*/ 3529668 w 5519334"/>
              <a:gd name="connsiteY41" fmla="*/ 4684889 h 5178778"/>
              <a:gd name="connsiteX42" fmla="*/ 3543779 w 5519334"/>
              <a:gd name="connsiteY42" fmla="*/ 4600222 h 5178778"/>
              <a:gd name="connsiteX43" fmla="*/ 3600223 w 5519334"/>
              <a:gd name="connsiteY43" fmla="*/ 4176889 h 5178778"/>
              <a:gd name="connsiteX44" fmla="*/ 3670779 w 5519334"/>
              <a:gd name="connsiteY44" fmla="*/ 4021667 h 5178778"/>
              <a:gd name="connsiteX45" fmla="*/ 3741334 w 5519334"/>
              <a:gd name="connsiteY45" fmla="*/ 3894667 h 5178778"/>
              <a:gd name="connsiteX46" fmla="*/ 3769557 w 5519334"/>
              <a:gd name="connsiteY46" fmla="*/ 3852333 h 5178778"/>
              <a:gd name="connsiteX47" fmla="*/ 4065890 w 5519334"/>
              <a:gd name="connsiteY47" fmla="*/ 3654778 h 5178778"/>
              <a:gd name="connsiteX48" fmla="*/ 4122334 w 5519334"/>
              <a:gd name="connsiteY48" fmla="*/ 3612444 h 5178778"/>
              <a:gd name="connsiteX49" fmla="*/ 4291668 w 5519334"/>
              <a:gd name="connsiteY49" fmla="*/ 3527778 h 5178778"/>
              <a:gd name="connsiteX50" fmla="*/ 4517446 w 5519334"/>
              <a:gd name="connsiteY50" fmla="*/ 3400778 h 5178778"/>
              <a:gd name="connsiteX51" fmla="*/ 4715001 w 5519334"/>
              <a:gd name="connsiteY51" fmla="*/ 3287889 h 5178778"/>
              <a:gd name="connsiteX52" fmla="*/ 4870223 w 5519334"/>
              <a:gd name="connsiteY52" fmla="*/ 3189111 h 5178778"/>
              <a:gd name="connsiteX53" fmla="*/ 5237112 w 5519334"/>
              <a:gd name="connsiteY53" fmla="*/ 3005667 h 5178778"/>
              <a:gd name="connsiteX54" fmla="*/ 5350001 w 5519334"/>
              <a:gd name="connsiteY54" fmla="*/ 2808111 h 5178778"/>
              <a:gd name="connsiteX55" fmla="*/ 5491112 w 5519334"/>
              <a:gd name="connsiteY55" fmla="*/ 2370667 h 5178778"/>
              <a:gd name="connsiteX56" fmla="*/ 5519334 w 5519334"/>
              <a:gd name="connsiteY56" fmla="*/ 2201333 h 5178778"/>
              <a:gd name="connsiteX57" fmla="*/ 5505223 w 5519334"/>
              <a:gd name="connsiteY57" fmla="*/ 1947333 h 5178778"/>
              <a:gd name="connsiteX58" fmla="*/ 5462890 w 5519334"/>
              <a:gd name="connsiteY58" fmla="*/ 1340555 h 5178778"/>
              <a:gd name="connsiteX59" fmla="*/ 5448779 w 5519334"/>
              <a:gd name="connsiteY59" fmla="*/ 620889 h 5178778"/>
              <a:gd name="connsiteX60" fmla="*/ 5420557 w 5519334"/>
              <a:gd name="connsiteY60" fmla="*/ 536222 h 5178778"/>
              <a:gd name="connsiteX61" fmla="*/ 5293557 w 5519334"/>
              <a:gd name="connsiteY61" fmla="*/ 197555 h 5178778"/>
              <a:gd name="connsiteX62" fmla="*/ 5251223 w 5519334"/>
              <a:gd name="connsiteY62" fmla="*/ 169333 h 5178778"/>
              <a:gd name="connsiteX63" fmla="*/ 5138334 w 5519334"/>
              <a:gd name="connsiteY63" fmla="*/ 84667 h 5178778"/>
              <a:gd name="connsiteX64" fmla="*/ 4503334 w 5519334"/>
              <a:gd name="connsiteY64" fmla="*/ 14111 h 5178778"/>
              <a:gd name="connsiteX65" fmla="*/ 4164668 w 5519334"/>
              <a:gd name="connsiteY65" fmla="*/ 0 h 5178778"/>
              <a:gd name="connsiteX66" fmla="*/ 3600223 w 5519334"/>
              <a:gd name="connsiteY66" fmla="*/ 28222 h 5178778"/>
              <a:gd name="connsiteX67" fmla="*/ 3543779 w 5519334"/>
              <a:gd name="connsiteY67" fmla="*/ 42333 h 5178778"/>
              <a:gd name="connsiteX68" fmla="*/ 3473223 w 5519334"/>
              <a:gd name="connsiteY68" fmla="*/ 84667 h 5178778"/>
              <a:gd name="connsiteX69" fmla="*/ 3416779 w 5519334"/>
              <a:gd name="connsiteY69" fmla="*/ 169333 h 5178778"/>
              <a:gd name="connsiteX70" fmla="*/ 3374446 w 5519334"/>
              <a:gd name="connsiteY70" fmla="*/ 211667 h 5178778"/>
              <a:gd name="connsiteX71" fmla="*/ 3318001 w 5519334"/>
              <a:gd name="connsiteY71" fmla="*/ 324555 h 5178778"/>
              <a:gd name="connsiteX72" fmla="*/ 3318001 w 5519334"/>
              <a:gd name="connsiteY72" fmla="*/ 381000 h 5178778"/>
              <a:gd name="connsiteX73" fmla="*/ 3318001 w 5519334"/>
              <a:gd name="connsiteY73" fmla="*/ 381000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3007557 w 5519334"/>
              <a:gd name="connsiteY8" fmla="*/ 2088444 h 5178778"/>
              <a:gd name="connsiteX9" fmla="*/ 2951112 w 5519334"/>
              <a:gd name="connsiteY9" fmla="*/ 2130778 h 5178778"/>
              <a:gd name="connsiteX10" fmla="*/ 2852334 w 5519334"/>
              <a:gd name="connsiteY10" fmla="*/ 2229555 h 5178778"/>
              <a:gd name="connsiteX11" fmla="*/ 2654779 w 5519334"/>
              <a:gd name="connsiteY11" fmla="*/ 2398889 h 5178778"/>
              <a:gd name="connsiteX12" fmla="*/ 2330223 w 5519334"/>
              <a:gd name="connsiteY12" fmla="*/ 2667000 h 5178778"/>
              <a:gd name="connsiteX13" fmla="*/ 2118557 w 5519334"/>
              <a:gd name="connsiteY13" fmla="*/ 2751667 h 5178778"/>
              <a:gd name="connsiteX14" fmla="*/ 2033890 w 5519334"/>
              <a:gd name="connsiteY14" fmla="*/ 2765778 h 5178778"/>
              <a:gd name="connsiteX15" fmla="*/ 1723446 w 5519334"/>
              <a:gd name="connsiteY15" fmla="*/ 2808111 h 5178778"/>
              <a:gd name="connsiteX16" fmla="*/ 1286001 w 5519334"/>
              <a:gd name="connsiteY16" fmla="*/ 2850444 h 5178778"/>
              <a:gd name="connsiteX17" fmla="*/ 1017890 w 5519334"/>
              <a:gd name="connsiteY17" fmla="*/ 2892778 h 5178778"/>
              <a:gd name="connsiteX18" fmla="*/ 749779 w 5519334"/>
              <a:gd name="connsiteY18" fmla="*/ 2935111 h 5178778"/>
              <a:gd name="connsiteX19" fmla="*/ 707446 w 5519334"/>
              <a:gd name="connsiteY19" fmla="*/ 2963333 h 5178778"/>
              <a:gd name="connsiteX20" fmla="*/ 651001 w 5519334"/>
              <a:gd name="connsiteY20" fmla="*/ 3005667 h 5178778"/>
              <a:gd name="connsiteX21" fmla="*/ 453446 w 5519334"/>
              <a:gd name="connsiteY21" fmla="*/ 3118555 h 5178778"/>
              <a:gd name="connsiteX22" fmla="*/ 340557 w 5519334"/>
              <a:gd name="connsiteY22" fmla="*/ 3203222 h 5178778"/>
              <a:gd name="connsiteX23" fmla="*/ 171223 w 5519334"/>
              <a:gd name="connsiteY23" fmla="*/ 3414889 h 5178778"/>
              <a:gd name="connsiteX24" fmla="*/ 157112 w 5519334"/>
              <a:gd name="connsiteY24" fmla="*/ 3471333 h 5178778"/>
              <a:gd name="connsiteX25" fmla="*/ 16001 w 5519334"/>
              <a:gd name="connsiteY25" fmla="*/ 3781778 h 5178778"/>
              <a:gd name="connsiteX26" fmla="*/ 1890 w 5519334"/>
              <a:gd name="connsiteY26" fmla="*/ 3979333 h 5178778"/>
              <a:gd name="connsiteX27" fmla="*/ 72446 w 5519334"/>
              <a:gd name="connsiteY27" fmla="*/ 4275667 h 5178778"/>
              <a:gd name="connsiteX28" fmla="*/ 241779 w 5519334"/>
              <a:gd name="connsiteY28" fmla="*/ 4459111 h 5178778"/>
              <a:gd name="connsiteX29" fmla="*/ 524001 w 5519334"/>
              <a:gd name="connsiteY29" fmla="*/ 4670778 h 5178778"/>
              <a:gd name="connsiteX30" fmla="*/ 763890 w 5519334"/>
              <a:gd name="connsiteY30" fmla="*/ 4783667 h 5178778"/>
              <a:gd name="connsiteX31" fmla="*/ 1102557 w 5519334"/>
              <a:gd name="connsiteY31" fmla="*/ 4967111 h 5178778"/>
              <a:gd name="connsiteX32" fmla="*/ 1427112 w 5519334"/>
              <a:gd name="connsiteY32" fmla="*/ 5108222 h 5178778"/>
              <a:gd name="connsiteX33" fmla="*/ 1667001 w 5519334"/>
              <a:gd name="connsiteY33" fmla="*/ 5150555 h 5178778"/>
              <a:gd name="connsiteX34" fmla="*/ 2287890 w 5519334"/>
              <a:gd name="connsiteY34" fmla="*/ 5178778 h 5178778"/>
              <a:gd name="connsiteX35" fmla="*/ 3021668 w 5519334"/>
              <a:gd name="connsiteY35" fmla="*/ 5150555 h 5178778"/>
              <a:gd name="connsiteX36" fmla="*/ 3064001 w 5519334"/>
              <a:gd name="connsiteY36" fmla="*/ 5136444 h 5178778"/>
              <a:gd name="connsiteX37" fmla="*/ 3219223 w 5519334"/>
              <a:gd name="connsiteY37" fmla="*/ 5037667 h 5178778"/>
              <a:gd name="connsiteX38" fmla="*/ 3402668 w 5519334"/>
              <a:gd name="connsiteY38" fmla="*/ 4938889 h 5178778"/>
              <a:gd name="connsiteX39" fmla="*/ 3487334 w 5519334"/>
              <a:gd name="connsiteY39" fmla="*/ 4854222 h 5178778"/>
              <a:gd name="connsiteX40" fmla="*/ 3501446 w 5519334"/>
              <a:gd name="connsiteY40" fmla="*/ 4783667 h 5178778"/>
              <a:gd name="connsiteX41" fmla="*/ 3529668 w 5519334"/>
              <a:gd name="connsiteY41" fmla="*/ 4684889 h 5178778"/>
              <a:gd name="connsiteX42" fmla="*/ 3543779 w 5519334"/>
              <a:gd name="connsiteY42" fmla="*/ 4600222 h 5178778"/>
              <a:gd name="connsiteX43" fmla="*/ 3600223 w 5519334"/>
              <a:gd name="connsiteY43" fmla="*/ 4176889 h 5178778"/>
              <a:gd name="connsiteX44" fmla="*/ 3670779 w 5519334"/>
              <a:gd name="connsiteY44" fmla="*/ 4021667 h 5178778"/>
              <a:gd name="connsiteX45" fmla="*/ 3741334 w 5519334"/>
              <a:gd name="connsiteY45" fmla="*/ 3894667 h 5178778"/>
              <a:gd name="connsiteX46" fmla="*/ 3769557 w 5519334"/>
              <a:gd name="connsiteY46" fmla="*/ 3852333 h 5178778"/>
              <a:gd name="connsiteX47" fmla="*/ 4065890 w 5519334"/>
              <a:gd name="connsiteY47" fmla="*/ 3654778 h 5178778"/>
              <a:gd name="connsiteX48" fmla="*/ 4122334 w 5519334"/>
              <a:gd name="connsiteY48" fmla="*/ 3612444 h 5178778"/>
              <a:gd name="connsiteX49" fmla="*/ 4291668 w 5519334"/>
              <a:gd name="connsiteY49" fmla="*/ 3527778 h 5178778"/>
              <a:gd name="connsiteX50" fmla="*/ 4517446 w 5519334"/>
              <a:gd name="connsiteY50" fmla="*/ 3400778 h 5178778"/>
              <a:gd name="connsiteX51" fmla="*/ 4715001 w 5519334"/>
              <a:gd name="connsiteY51" fmla="*/ 3287889 h 5178778"/>
              <a:gd name="connsiteX52" fmla="*/ 4870223 w 5519334"/>
              <a:gd name="connsiteY52" fmla="*/ 3189111 h 5178778"/>
              <a:gd name="connsiteX53" fmla="*/ 5237112 w 5519334"/>
              <a:gd name="connsiteY53" fmla="*/ 3005667 h 5178778"/>
              <a:gd name="connsiteX54" fmla="*/ 5350001 w 5519334"/>
              <a:gd name="connsiteY54" fmla="*/ 2808111 h 5178778"/>
              <a:gd name="connsiteX55" fmla="*/ 5491112 w 5519334"/>
              <a:gd name="connsiteY55" fmla="*/ 2370667 h 5178778"/>
              <a:gd name="connsiteX56" fmla="*/ 5519334 w 5519334"/>
              <a:gd name="connsiteY56" fmla="*/ 2201333 h 5178778"/>
              <a:gd name="connsiteX57" fmla="*/ 5505223 w 5519334"/>
              <a:gd name="connsiteY57" fmla="*/ 1947333 h 5178778"/>
              <a:gd name="connsiteX58" fmla="*/ 5462890 w 5519334"/>
              <a:gd name="connsiteY58" fmla="*/ 1340555 h 5178778"/>
              <a:gd name="connsiteX59" fmla="*/ 5448779 w 5519334"/>
              <a:gd name="connsiteY59" fmla="*/ 620889 h 5178778"/>
              <a:gd name="connsiteX60" fmla="*/ 5420557 w 5519334"/>
              <a:gd name="connsiteY60" fmla="*/ 536222 h 5178778"/>
              <a:gd name="connsiteX61" fmla="*/ 5293557 w 5519334"/>
              <a:gd name="connsiteY61" fmla="*/ 197555 h 5178778"/>
              <a:gd name="connsiteX62" fmla="*/ 5251223 w 5519334"/>
              <a:gd name="connsiteY62" fmla="*/ 169333 h 5178778"/>
              <a:gd name="connsiteX63" fmla="*/ 5138334 w 5519334"/>
              <a:gd name="connsiteY63" fmla="*/ 84667 h 5178778"/>
              <a:gd name="connsiteX64" fmla="*/ 4503334 w 5519334"/>
              <a:gd name="connsiteY64" fmla="*/ 14111 h 5178778"/>
              <a:gd name="connsiteX65" fmla="*/ 4164668 w 5519334"/>
              <a:gd name="connsiteY65" fmla="*/ 0 h 5178778"/>
              <a:gd name="connsiteX66" fmla="*/ 3600223 w 5519334"/>
              <a:gd name="connsiteY66" fmla="*/ 28222 h 5178778"/>
              <a:gd name="connsiteX67" fmla="*/ 3543779 w 5519334"/>
              <a:gd name="connsiteY67" fmla="*/ 42333 h 5178778"/>
              <a:gd name="connsiteX68" fmla="*/ 3473223 w 5519334"/>
              <a:gd name="connsiteY68" fmla="*/ 84667 h 5178778"/>
              <a:gd name="connsiteX69" fmla="*/ 3416779 w 5519334"/>
              <a:gd name="connsiteY69" fmla="*/ 169333 h 5178778"/>
              <a:gd name="connsiteX70" fmla="*/ 3374446 w 5519334"/>
              <a:gd name="connsiteY70" fmla="*/ 211667 h 5178778"/>
              <a:gd name="connsiteX71" fmla="*/ 3318001 w 5519334"/>
              <a:gd name="connsiteY71" fmla="*/ 324555 h 5178778"/>
              <a:gd name="connsiteX72" fmla="*/ 3318001 w 5519334"/>
              <a:gd name="connsiteY72" fmla="*/ 381000 h 5178778"/>
              <a:gd name="connsiteX73" fmla="*/ 3176890 w 5519334"/>
              <a:gd name="connsiteY73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3007557 w 5519334"/>
              <a:gd name="connsiteY8" fmla="*/ 2088444 h 5178778"/>
              <a:gd name="connsiteX9" fmla="*/ 2951112 w 5519334"/>
              <a:gd name="connsiteY9" fmla="*/ 2130778 h 5178778"/>
              <a:gd name="connsiteX10" fmla="*/ 2852334 w 5519334"/>
              <a:gd name="connsiteY10" fmla="*/ 2229555 h 5178778"/>
              <a:gd name="connsiteX11" fmla="*/ 2654779 w 5519334"/>
              <a:gd name="connsiteY11" fmla="*/ 2398889 h 5178778"/>
              <a:gd name="connsiteX12" fmla="*/ 2330223 w 5519334"/>
              <a:gd name="connsiteY12" fmla="*/ 2667000 h 5178778"/>
              <a:gd name="connsiteX13" fmla="*/ 2118557 w 5519334"/>
              <a:gd name="connsiteY13" fmla="*/ 2751667 h 5178778"/>
              <a:gd name="connsiteX14" fmla="*/ 2033890 w 5519334"/>
              <a:gd name="connsiteY14" fmla="*/ 2765778 h 5178778"/>
              <a:gd name="connsiteX15" fmla="*/ 1723446 w 5519334"/>
              <a:gd name="connsiteY15" fmla="*/ 2808111 h 5178778"/>
              <a:gd name="connsiteX16" fmla="*/ 1286001 w 5519334"/>
              <a:gd name="connsiteY16" fmla="*/ 2850444 h 5178778"/>
              <a:gd name="connsiteX17" fmla="*/ 1017890 w 5519334"/>
              <a:gd name="connsiteY17" fmla="*/ 2892778 h 5178778"/>
              <a:gd name="connsiteX18" fmla="*/ 749779 w 5519334"/>
              <a:gd name="connsiteY18" fmla="*/ 2935111 h 5178778"/>
              <a:gd name="connsiteX19" fmla="*/ 707446 w 5519334"/>
              <a:gd name="connsiteY19" fmla="*/ 2963333 h 5178778"/>
              <a:gd name="connsiteX20" fmla="*/ 651001 w 5519334"/>
              <a:gd name="connsiteY20" fmla="*/ 3005667 h 5178778"/>
              <a:gd name="connsiteX21" fmla="*/ 453446 w 5519334"/>
              <a:gd name="connsiteY21" fmla="*/ 3118555 h 5178778"/>
              <a:gd name="connsiteX22" fmla="*/ 340557 w 5519334"/>
              <a:gd name="connsiteY22" fmla="*/ 3203222 h 5178778"/>
              <a:gd name="connsiteX23" fmla="*/ 171223 w 5519334"/>
              <a:gd name="connsiteY23" fmla="*/ 3414889 h 5178778"/>
              <a:gd name="connsiteX24" fmla="*/ 157112 w 5519334"/>
              <a:gd name="connsiteY24" fmla="*/ 3471333 h 5178778"/>
              <a:gd name="connsiteX25" fmla="*/ 16001 w 5519334"/>
              <a:gd name="connsiteY25" fmla="*/ 3781778 h 5178778"/>
              <a:gd name="connsiteX26" fmla="*/ 1890 w 5519334"/>
              <a:gd name="connsiteY26" fmla="*/ 3979333 h 5178778"/>
              <a:gd name="connsiteX27" fmla="*/ 72446 w 5519334"/>
              <a:gd name="connsiteY27" fmla="*/ 4275667 h 5178778"/>
              <a:gd name="connsiteX28" fmla="*/ 241779 w 5519334"/>
              <a:gd name="connsiteY28" fmla="*/ 4459111 h 5178778"/>
              <a:gd name="connsiteX29" fmla="*/ 524001 w 5519334"/>
              <a:gd name="connsiteY29" fmla="*/ 4670778 h 5178778"/>
              <a:gd name="connsiteX30" fmla="*/ 763890 w 5519334"/>
              <a:gd name="connsiteY30" fmla="*/ 4783667 h 5178778"/>
              <a:gd name="connsiteX31" fmla="*/ 1102557 w 5519334"/>
              <a:gd name="connsiteY31" fmla="*/ 4967111 h 5178778"/>
              <a:gd name="connsiteX32" fmla="*/ 1427112 w 5519334"/>
              <a:gd name="connsiteY32" fmla="*/ 5108222 h 5178778"/>
              <a:gd name="connsiteX33" fmla="*/ 1667001 w 5519334"/>
              <a:gd name="connsiteY33" fmla="*/ 5150555 h 5178778"/>
              <a:gd name="connsiteX34" fmla="*/ 2287890 w 5519334"/>
              <a:gd name="connsiteY34" fmla="*/ 5178778 h 5178778"/>
              <a:gd name="connsiteX35" fmla="*/ 3021668 w 5519334"/>
              <a:gd name="connsiteY35" fmla="*/ 5150555 h 5178778"/>
              <a:gd name="connsiteX36" fmla="*/ 3064001 w 5519334"/>
              <a:gd name="connsiteY36" fmla="*/ 5136444 h 5178778"/>
              <a:gd name="connsiteX37" fmla="*/ 3219223 w 5519334"/>
              <a:gd name="connsiteY37" fmla="*/ 5037667 h 5178778"/>
              <a:gd name="connsiteX38" fmla="*/ 3402668 w 5519334"/>
              <a:gd name="connsiteY38" fmla="*/ 4938889 h 5178778"/>
              <a:gd name="connsiteX39" fmla="*/ 3487334 w 5519334"/>
              <a:gd name="connsiteY39" fmla="*/ 4854222 h 5178778"/>
              <a:gd name="connsiteX40" fmla="*/ 3501446 w 5519334"/>
              <a:gd name="connsiteY40" fmla="*/ 4783667 h 5178778"/>
              <a:gd name="connsiteX41" fmla="*/ 3529668 w 5519334"/>
              <a:gd name="connsiteY41" fmla="*/ 4684889 h 5178778"/>
              <a:gd name="connsiteX42" fmla="*/ 3769557 w 5519334"/>
              <a:gd name="connsiteY42" fmla="*/ 4600222 h 5178778"/>
              <a:gd name="connsiteX43" fmla="*/ 3600223 w 5519334"/>
              <a:gd name="connsiteY43" fmla="*/ 4176889 h 5178778"/>
              <a:gd name="connsiteX44" fmla="*/ 3670779 w 5519334"/>
              <a:gd name="connsiteY44" fmla="*/ 4021667 h 5178778"/>
              <a:gd name="connsiteX45" fmla="*/ 3741334 w 5519334"/>
              <a:gd name="connsiteY45" fmla="*/ 3894667 h 5178778"/>
              <a:gd name="connsiteX46" fmla="*/ 3769557 w 5519334"/>
              <a:gd name="connsiteY46" fmla="*/ 3852333 h 5178778"/>
              <a:gd name="connsiteX47" fmla="*/ 4065890 w 5519334"/>
              <a:gd name="connsiteY47" fmla="*/ 3654778 h 5178778"/>
              <a:gd name="connsiteX48" fmla="*/ 4122334 w 5519334"/>
              <a:gd name="connsiteY48" fmla="*/ 3612444 h 5178778"/>
              <a:gd name="connsiteX49" fmla="*/ 4291668 w 5519334"/>
              <a:gd name="connsiteY49" fmla="*/ 3527778 h 5178778"/>
              <a:gd name="connsiteX50" fmla="*/ 4517446 w 5519334"/>
              <a:gd name="connsiteY50" fmla="*/ 3400778 h 5178778"/>
              <a:gd name="connsiteX51" fmla="*/ 4715001 w 5519334"/>
              <a:gd name="connsiteY51" fmla="*/ 3287889 h 5178778"/>
              <a:gd name="connsiteX52" fmla="*/ 4870223 w 5519334"/>
              <a:gd name="connsiteY52" fmla="*/ 3189111 h 5178778"/>
              <a:gd name="connsiteX53" fmla="*/ 5237112 w 5519334"/>
              <a:gd name="connsiteY53" fmla="*/ 3005667 h 5178778"/>
              <a:gd name="connsiteX54" fmla="*/ 5350001 w 5519334"/>
              <a:gd name="connsiteY54" fmla="*/ 2808111 h 5178778"/>
              <a:gd name="connsiteX55" fmla="*/ 5491112 w 5519334"/>
              <a:gd name="connsiteY55" fmla="*/ 2370667 h 5178778"/>
              <a:gd name="connsiteX56" fmla="*/ 5519334 w 5519334"/>
              <a:gd name="connsiteY56" fmla="*/ 2201333 h 5178778"/>
              <a:gd name="connsiteX57" fmla="*/ 5505223 w 5519334"/>
              <a:gd name="connsiteY57" fmla="*/ 1947333 h 5178778"/>
              <a:gd name="connsiteX58" fmla="*/ 5462890 w 5519334"/>
              <a:gd name="connsiteY58" fmla="*/ 1340555 h 5178778"/>
              <a:gd name="connsiteX59" fmla="*/ 5448779 w 5519334"/>
              <a:gd name="connsiteY59" fmla="*/ 620889 h 5178778"/>
              <a:gd name="connsiteX60" fmla="*/ 5420557 w 5519334"/>
              <a:gd name="connsiteY60" fmla="*/ 536222 h 5178778"/>
              <a:gd name="connsiteX61" fmla="*/ 5293557 w 5519334"/>
              <a:gd name="connsiteY61" fmla="*/ 197555 h 5178778"/>
              <a:gd name="connsiteX62" fmla="*/ 5251223 w 5519334"/>
              <a:gd name="connsiteY62" fmla="*/ 169333 h 5178778"/>
              <a:gd name="connsiteX63" fmla="*/ 5138334 w 5519334"/>
              <a:gd name="connsiteY63" fmla="*/ 84667 h 5178778"/>
              <a:gd name="connsiteX64" fmla="*/ 4503334 w 5519334"/>
              <a:gd name="connsiteY64" fmla="*/ 14111 h 5178778"/>
              <a:gd name="connsiteX65" fmla="*/ 4164668 w 5519334"/>
              <a:gd name="connsiteY65" fmla="*/ 0 h 5178778"/>
              <a:gd name="connsiteX66" fmla="*/ 3600223 w 5519334"/>
              <a:gd name="connsiteY66" fmla="*/ 28222 h 5178778"/>
              <a:gd name="connsiteX67" fmla="*/ 3543779 w 5519334"/>
              <a:gd name="connsiteY67" fmla="*/ 42333 h 5178778"/>
              <a:gd name="connsiteX68" fmla="*/ 3473223 w 5519334"/>
              <a:gd name="connsiteY68" fmla="*/ 84667 h 5178778"/>
              <a:gd name="connsiteX69" fmla="*/ 3416779 w 5519334"/>
              <a:gd name="connsiteY69" fmla="*/ 169333 h 5178778"/>
              <a:gd name="connsiteX70" fmla="*/ 3374446 w 5519334"/>
              <a:gd name="connsiteY70" fmla="*/ 211667 h 5178778"/>
              <a:gd name="connsiteX71" fmla="*/ 3318001 w 5519334"/>
              <a:gd name="connsiteY71" fmla="*/ 324555 h 5178778"/>
              <a:gd name="connsiteX72" fmla="*/ 3318001 w 5519334"/>
              <a:gd name="connsiteY72" fmla="*/ 381000 h 5178778"/>
              <a:gd name="connsiteX73" fmla="*/ 3176890 w 5519334"/>
              <a:gd name="connsiteY73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3007557 w 5519334"/>
              <a:gd name="connsiteY8" fmla="*/ 2088444 h 5178778"/>
              <a:gd name="connsiteX9" fmla="*/ 2951112 w 5519334"/>
              <a:gd name="connsiteY9" fmla="*/ 2130778 h 5178778"/>
              <a:gd name="connsiteX10" fmla="*/ 2852334 w 5519334"/>
              <a:gd name="connsiteY10" fmla="*/ 2229555 h 5178778"/>
              <a:gd name="connsiteX11" fmla="*/ 2654779 w 5519334"/>
              <a:gd name="connsiteY11" fmla="*/ 2398889 h 5178778"/>
              <a:gd name="connsiteX12" fmla="*/ 2330223 w 5519334"/>
              <a:gd name="connsiteY12" fmla="*/ 2667000 h 5178778"/>
              <a:gd name="connsiteX13" fmla="*/ 2118557 w 5519334"/>
              <a:gd name="connsiteY13" fmla="*/ 2751667 h 5178778"/>
              <a:gd name="connsiteX14" fmla="*/ 2033890 w 5519334"/>
              <a:gd name="connsiteY14" fmla="*/ 2765778 h 5178778"/>
              <a:gd name="connsiteX15" fmla="*/ 1723446 w 5519334"/>
              <a:gd name="connsiteY15" fmla="*/ 2808111 h 5178778"/>
              <a:gd name="connsiteX16" fmla="*/ 1286001 w 5519334"/>
              <a:gd name="connsiteY16" fmla="*/ 2850444 h 5178778"/>
              <a:gd name="connsiteX17" fmla="*/ 1017890 w 5519334"/>
              <a:gd name="connsiteY17" fmla="*/ 2892778 h 5178778"/>
              <a:gd name="connsiteX18" fmla="*/ 749779 w 5519334"/>
              <a:gd name="connsiteY18" fmla="*/ 2935111 h 5178778"/>
              <a:gd name="connsiteX19" fmla="*/ 707446 w 5519334"/>
              <a:gd name="connsiteY19" fmla="*/ 2963333 h 5178778"/>
              <a:gd name="connsiteX20" fmla="*/ 651001 w 5519334"/>
              <a:gd name="connsiteY20" fmla="*/ 3005667 h 5178778"/>
              <a:gd name="connsiteX21" fmla="*/ 453446 w 5519334"/>
              <a:gd name="connsiteY21" fmla="*/ 3118555 h 5178778"/>
              <a:gd name="connsiteX22" fmla="*/ 340557 w 5519334"/>
              <a:gd name="connsiteY22" fmla="*/ 3203222 h 5178778"/>
              <a:gd name="connsiteX23" fmla="*/ 171223 w 5519334"/>
              <a:gd name="connsiteY23" fmla="*/ 3414889 h 5178778"/>
              <a:gd name="connsiteX24" fmla="*/ 157112 w 5519334"/>
              <a:gd name="connsiteY24" fmla="*/ 3471333 h 5178778"/>
              <a:gd name="connsiteX25" fmla="*/ 16001 w 5519334"/>
              <a:gd name="connsiteY25" fmla="*/ 3781778 h 5178778"/>
              <a:gd name="connsiteX26" fmla="*/ 1890 w 5519334"/>
              <a:gd name="connsiteY26" fmla="*/ 3979333 h 5178778"/>
              <a:gd name="connsiteX27" fmla="*/ 72446 w 5519334"/>
              <a:gd name="connsiteY27" fmla="*/ 4275667 h 5178778"/>
              <a:gd name="connsiteX28" fmla="*/ 241779 w 5519334"/>
              <a:gd name="connsiteY28" fmla="*/ 4459111 h 5178778"/>
              <a:gd name="connsiteX29" fmla="*/ 524001 w 5519334"/>
              <a:gd name="connsiteY29" fmla="*/ 4670778 h 5178778"/>
              <a:gd name="connsiteX30" fmla="*/ 763890 w 5519334"/>
              <a:gd name="connsiteY30" fmla="*/ 4783667 h 5178778"/>
              <a:gd name="connsiteX31" fmla="*/ 1102557 w 5519334"/>
              <a:gd name="connsiteY31" fmla="*/ 4967111 h 5178778"/>
              <a:gd name="connsiteX32" fmla="*/ 1427112 w 5519334"/>
              <a:gd name="connsiteY32" fmla="*/ 5108222 h 5178778"/>
              <a:gd name="connsiteX33" fmla="*/ 1667001 w 5519334"/>
              <a:gd name="connsiteY33" fmla="*/ 5150555 h 5178778"/>
              <a:gd name="connsiteX34" fmla="*/ 2287890 w 5519334"/>
              <a:gd name="connsiteY34" fmla="*/ 5178778 h 5178778"/>
              <a:gd name="connsiteX35" fmla="*/ 3021668 w 5519334"/>
              <a:gd name="connsiteY35" fmla="*/ 5150555 h 5178778"/>
              <a:gd name="connsiteX36" fmla="*/ 3064001 w 5519334"/>
              <a:gd name="connsiteY36" fmla="*/ 5136444 h 5178778"/>
              <a:gd name="connsiteX37" fmla="*/ 3219223 w 5519334"/>
              <a:gd name="connsiteY37" fmla="*/ 5037667 h 5178778"/>
              <a:gd name="connsiteX38" fmla="*/ 3402668 w 5519334"/>
              <a:gd name="connsiteY38" fmla="*/ 4938889 h 5178778"/>
              <a:gd name="connsiteX39" fmla="*/ 3487334 w 5519334"/>
              <a:gd name="connsiteY39" fmla="*/ 4854222 h 5178778"/>
              <a:gd name="connsiteX40" fmla="*/ 3501446 w 5519334"/>
              <a:gd name="connsiteY40" fmla="*/ 4783667 h 5178778"/>
              <a:gd name="connsiteX41" fmla="*/ 3529668 w 5519334"/>
              <a:gd name="connsiteY41" fmla="*/ 4684889 h 5178778"/>
              <a:gd name="connsiteX42" fmla="*/ 3600223 w 5519334"/>
              <a:gd name="connsiteY42" fmla="*/ 4176889 h 5178778"/>
              <a:gd name="connsiteX43" fmla="*/ 3670779 w 5519334"/>
              <a:gd name="connsiteY43" fmla="*/ 4021667 h 5178778"/>
              <a:gd name="connsiteX44" fmla="*/ 3741334 w 5519334"/>
              <a:gd name="connsiteY44" fmla="*/ 3894667 h 5178778"/>
              <a:gd name="connsiteX45" fmla="*/ 3769557 w 5519334"/>
              <a:gd name="connsiteY45" fmla="*/ 3852333 h 5178778"/>
              <a:gd name="connsiteX46" fmla="*/ 4065890 w 5519334"/>
              <a:gd name="connsiteY46" fmla="*/ 3654778 h 5178778"/>
              <a:gd name="connsiteX47" fmla="*/ 4122334 w 5519334"/>
              <a:gd name="connsiteY47" fmla="*/ 3612444 h 5178778"/>
              <a:gd name="connsiteX48" fmla="*/ 4291668 w 5519334"/>
              <a:gd name="connsiteY48" fmla="*/ 3527778 h 5178778"/>
              <a:gd name="connsiteX49" fmla="*/ 4517446 w 5519334"/>
              <a:gd name="connsiteY49" fmla="*/ 3400778 h 5178778"/>
              <a:gd name="connsiteX50" fmla="*/ 4715001 w 5519334"/>
              <a:gd name="connsiteY50" fmla="*/ 3287889 h 5178778"/>
              <a:gd name="connsiteX51" fmla="*/ 4870223 w 5519334"/>
              <a:gd name="connsiteY51" fmla="*/ 3189111 h 5178778"/>
              <a:gd name="connsiteX52" fmla="*/ 5237112 w 5519334"/>
              <a:gd name="connsiteY52" fmla="*/ 3005667 h 5178778"/>
              <a:gd name="connsiteX53" fmla="*/ 5350001 w 5519334"/>
              <a:gd name="connsiteY53" fmla="*/ 2808111 h 5178778"/>
              <a:gd name="connsiteX54" fmla="*/ 5491112 w 5519334"/>
              <a:gd name="connsiteY54" fmla="*/ 2370667 h 5178778"/>
              <a:gd name="connsiteX55" fmla="*/ 5519334 w 5519334"/>
              <a:gd name="connsiteY55" fmla="*/ 2201333 h 5178778"/>
              <a:gd name="connsiteX56" fmla="*/ 5505223 w 5519334"/>
              <a:gd name="connsiteY56" fmla="*/ 1947333 h 5178778"/>
              <a:gd name="connsiteX57" fmla="*/ 5462890 w 5519334"/>
              <a:gd name="connsiteY57" fmla="*/ 1340555 h 5178778"/>
              <a:gd name="connsiteX58" fmla="*/ 5448779 w 5519334"/>
              <a:gd name="connsiteY58" fmla="*/ 620889 h 5178778"/>
              <a:gd name="connsiteX59" fmla="*/ 5420557 w 5519334"/>
              <a:gd name="connsiteY59" fmla="*/ 536222 h 5178778"/>
              <a:gd name="connsiteX60" fmla="*/ 5293557 w 5519334"/>
              <a:gd name="connsiteY60" fmla="*/ 197555 h 5178778"/>
              <a:gd name="connsiteX61" fmla="*/ 5251223 w 5519334"/>
              <a:gd name="connsiteY61" fmla="*/ 169333 h 5178778"/>
              <a:gd name="connsiteX62" fmla="*/ 5138334 w 5519334"/>
              <a:gd name="connsiteY62" fmla="*/ 84667 h 5178778"/>
              <a:gd name="connsiteX63" fmla="*/ 4503334 w 5519334"/>
              <a:gd name="connsiteY63" fmla="*/ 14111 h 5178778"/>
              <a:gd name="connsiteX64" fmla="*/ 4164668 w 5519334"/>
              <a:gd name="connsiteY64" fmla="*/ 0 h 5178778"/>
              <a:gd name="connsiteX65" fmla="*/ 3600223 w 5519334"/>
              <a:gd name="connsiteY65" fmla="*/ 28222 h 5178778"/>
              <a:gd name="connsiteX66" fmla="*/ 3543779 w 5519334"/>
              <a:gd name="connsiteY66" fmla="*/ 42333 h 5178778"/>
              <a:gd name="connsiteX67" fmla="*/ 3473223 w 5519334"/>
              <a:gd name="connsiteY67" fmla="*/ 84667 h 5178778"/>
              <a:gd name="connsiteX68" fmla="*/ 3416779 w 5519334"/>
              <a:gd name="connsiteY68" fmla="*/ 169333 h 5178778"/>
              <a:gd name="connsiteX69" fmla="*/ 3374446 w 5519334"/>
              <a:gd name="connsiteY69" fmla="*/ 211667 h 5178778"/>
              <a:gd name="connsiteX70" fmla="*/ 3318001 w 5519334"/>
              <a:gd name="connsiteY70" fmla="*/ 324555 h 5178778"/>
              <a:gd name="connsiteX71" fmla="*/ 3318001 w 5519334"/>
              <a:gd name="connsiteY71" fmla="*/ 381000 h 5178778"/>
              <a:gd name="connsiteX72" fmla="*/ 3176890 w 5519334"/>
              <a:gd name="connsiteY72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3007557 w 5519334"/>
              <a:gd name="connsiteY8" fmla="*/ 2088444 h 5178778"/>
              <a:gd name="connsiteX9" fmla="*/ 2951112 w 5519334"/>
              <a:gd name="connsiteY9" fmla="*/ 2130778 h 5178778"/>
              <a:gd name="connsiteX10" fmla="*/ 2852334 w 5519334"/>
              <a:gd name="connsiteY10" fmla="*/ 2229555 h 5178778"/>
              <a:gd name="connsiteX11" fmla="*/ 2654779 w 5519334"/>
              <a:gd name="connsiteY11" fmla="*/ 2398889 h 5178778"/>
              <a:gd name="connsiteX12" fmla="*/ 2330223 w 5519334"/>
              <a:gd name="connsiteY12" fmla="*/ 2667000 h 5178778"/>
              <a:gd name="connsiteX13" fmla="*/ 2118557 w 5519334"/>
              <a:gd name="connsiteY13" fmla="*/ 2751667 h 5178778"/>
              <a:gd name="connsiteX14" fmla="*/ 2033890 w 5519334"/>
              <a:gd name="connsiteY14" fmla="*/ 2765778 h 5178778"/>
              <a:gd name="connsiteX15" fmla="*/ 1723446 w 5519334"/>
              <a:gd name="connsiteY15" fmla="*/ 2808111 h 5178778"/>
              <a:gd name="connsiteX16" fmla="*/ 1286001 w 5519334"/>
              <a:gd name="connsiteY16" fmla="*/ 2850444 h 5178778"/>
              <a:gd name="connsiteX17" fmla="*/ 1017890 w 5519334"/>
              <a:gd name="connsiteY17" fmla="*/ 2892778 h 5178778"/>
              <a:gd name="connsiteX18" fmla="*/ 749779 w 5519334"/>
              <a:gd name="connsiteY18" fmla="*/ 2935111 h 5178778"/>
              <a:gd name="connsiteX19" fmla="*/ 707446 w 5519334"/>
              <a:gd name="connsiteY19" fmla="*/ 2963333 h 5178778"/>
              <a:gd name="connsiteX20" fmla="*/ 651001 w 5519334"/>
              <a:gd name="connsiteY20" fmla="*/ 3005667 h 5178778"/>
              <a:gd name="connsiteX21" fmla="*/ 453446 w 5519334"/>
              <a:gd name="connsiteY21" fmla="*/ 3118555 h 5178778"/>
              <a:gd name="connsiteX22" fmla="*/ 340557 w 5519334"/>
              <a:gd name="connsiteY22" fmla="*/ 3203222 h 5178778"/>
              <a:gd name="connsiteX23" fmla="*/ 171223 w 5519334"/>
              <a:gd name="connsiteY23" fmla="*/ 3414889 h 5178778"/>
              <a:gd name="connsiteX24" fmla="*/ 157112 w 5519334"/>
              <a:gd name="connsiteY24" fmla="*/ 3471333 h 5178778"/>
              <a:gd name="connsiteX25" fmla="*/ 16001 w 5519334"/>
              <a:gd name="connsiteY25" fmla="*/ 3781778 h 5178778"/>
              <a:gd name="connsiteX26" fmla="*/ 1890 w 5519334"/>
              <a:gd name="connsiteY26" fmla="*/ 3979333 h 5178778"/>
              <a:gd name="connsiteX27" fmla="*/ 72446 w 5519334"/>
              <a:gd name="connsiteY27" fmla="*/ 4275667 h 5178778"/>
              <a:gd name="connsiteX28" fmla="*/ 241779 w 5519334"/>
              <a:gd name="connsiteY28" fmla="*/ 4459111 h 5178778"/>
              <a:gd name="connsiteX29" fmla="*/ 524001 w 5519334"/>
              <a:gd name="connsiteY29" fmla="*/ 4670778 h 5178778"/>
              <a:gd name="connsiteX30" fmla="*/ 763890 w 5519334"/>
              <a:gd name="connsiteY30" fmla="*/ 4783667 h 5178778"/>
              <a:gd name="connsiteX31" fmla="*/ 1102557 w 5519334"/>
              <a:gd name="connsiteY31" fmla="*/ 4967111 h 5178778"/>
              <a:gd name="connsiteX32" fmla="*/ 1427112 w 5519334"/>
              <a:gd name="connsiteY32" fmla="*/ 5108222 h 5178778"/>
              <a:gd name="connsiteX33" fmla="*/ 1667001 w 5519334"/>
              <a:gd name="connsiteY33" fmla="*/ 5150555 h 5178778"/>
              <a:gd name="connsiteX34" fmla="*/ 2287890 w 5519334"/>
              <a:gd name="connsiteY34" fmla="*/ 5178778 h 5178778"/>
              <a:gd name="connsiteX35" fmla="*/ 3021668 w 5519334"/>
              <a:gd name="connsiteY35" fmla="*/ 5150555 h 5178778"/>
              <a:gd name="connsiteX36" fmla="*/ 3064001 w 5519334"/>
              <a:gd name="connsiteY36" fmla="*/ 5136444 h 5178778"/>
              <a:gd name="connsiteX37" fmla="*/ 3219223 w 5519334"/>
              <a:gd name="connsiteY37" fmla="*/ 5037667 h 5178778"/>
              <a:gd name="connsiteX38" fmla="*/ 3402668 w 5519334"/>
              <a:gd name="connsiteY38" fmla="*/ 4938889 h 5178778"/>
              <a:gd name="connsiteX39" fmla="*/ 3487334 w 5519334"/>
              <a:gd name="connsiteY39" fmla="*/ 4854222 h 5178778"/>
              <a:gd name="connsiteX40" fmla="*/ 3529668 w 5519334"/>
              <a:gd name="connsiteY40" fmla="*/ 4684889 h 5178778"/>
              <a:gd name="connsiteX41" fmla="*/ 3600223 w 5519334"/>
              <a:gd name="connsiteY41" fmla="*/ 4176889 h 5178778"/>
              <a:gd name="connsiteX42" fmla="*/ 3670779 w 5519334"/>
              <a:gd name="connsiteY42" fmla="*/ 4021667 h 5178778"/>
              <a:gd name="connsiteX43" fmla="*/ 3741334 w 5519334"/>
              <a:gd name="connsiteY43" fmla="*/ 3894667 h 5178778"/>
              <a:gd name="connsiteX44" fmla="*/ 3769557 w 5519334"/>
              <a:gd name="connsiteY44" fmla="*/ 3852333 h 5178778"/>
              <a:gd name="connsiteX45" fmla="*/ 4065890 w 5519334"/>
              <a:gd name="connsiteY45" fmla="*/ 3654778 h 5178778"/>
              <a:gd name="connsiteX46" fmla="*/ 4122334 w 5519334"/>
              <a:gd name="connsiteY46" fmla="*/ 3612444 h 5178778"/>
              <a:gd name="connsiteX47" fmla="*/ 4291668 w 5519334"/>
              <a:gd name="connsiteY47" fmla="*/ 3527778 h 5178778"/>
              <a:gd name="connsiteX48" fmla="*/ 4517446 w 5519334"/>
              <a:gd name="connsiteY48" fmla="*/ 3400778 h 5178778"/>
              <a:gd name="connsiteX49" fmla="*/ 4715001 w 5519334"/>
              <a:gd name="connsiteY49" fmla="*/ 3287889 h 5178778"/>
              <a:gd name="connsiteX50" fmla="*/ 4870223 w 5519334"/>
              <a:gd name="connsiteY50" fmla="*/ 3189111 h 5178778"/>
              <a:gd name="connsiteX51" fmla="*/ 5237112 w 5519334"/>
              <a:gd name="connsiteY51" fmla="*/ 3005667 h 5178778"/>
              <a:gd name="connsiteX52" fmla="*/ 5350001 w 5519334"/>
              <a:gd name="connsiteY52" fmla="*/ 2808111 h 5178778"/>
              <a:gd name="connsiteX53" fmla="*/ 5491112 w 5519334"/>
              <a:gd name="connsiteY53" fmla="*/ 2370667 h 5178778"/>
              <a:gd name="connsiteX54" fmla="*/ 5519334 w 5519334"/>
              <a:gd name="connsiteY54" fmla="*/ 2201333 h 5178778"/>
              <a:gd name="connsiteX55" fmla="*/ 5505223 w 5519334"/>
              <a:gd name="connsiteY55" fmla="*/ 1947333 h 5178778"/>
              <a:gd name="connsiteX56" fmla="*/ 5462890 w 5519334"/>
              <a:gd name="connsiteY56" fmla="*/ 1340555 h 5178778"/>
              <a:gd name="connsiteX57" fmla="*/ 5448779 w 5519334"/>
              <a:gd name="connsiteY57" fmla="*/ 620889 h 5178778"/>
              <a:gd name="connsiteX58" fmla="*/ 5420557 w 5519334"/>
              <a:gd name="connsiteY58" fmla="*/ 536222 h 5178778"/>
              <a:gd name="connsiteX59" fmla="*/ 5293557 w 5519334"/>
              <a:gd name="connsiteY59" fmla="*/ 197555 h 5178778"/>
              <a:gd name="connsiteX60" fmla="*/ 5251223 w 5519334"/>
              <a:gd name="connsiteY60" fmla="*/ 169333 h 5178778"/>
              <a:gd name="connsiteX61" fmla="*/ 5138334 w 5519334"/>
              <a:gd name="connsiteY61" fmla="*/ 84667 h 5178778"/>
              <a:gd name="connsiteX62" fmla="*/ 4503334 w 5519334"/>
              <a:gd name="connsiteY62" fmla="*/ 14111 h 5178778"/>
              <a:gd name="connsiteX63" fmla="*/ 4164668 w 5519334"/>
              <a:gd name="connsiteY63" fmla="*/ 0 h 5178778"/>
              <a:gd name="connsiteX64" fmla="*/ 3600223 w 5519334"/>
              <a:gd name="connsiteY64" fmla="*/ 28222 h 5178778"/>
              <a:gd name="connsiteX65" fmla="*/ 3543779 w 5519334"/>
              <a:gd name="connsiteY65" fmla="*/ 42333 h 5178778"/>
              <a:gd name="connsiteX66" fmla="*/ 3473223 w 5519334"/>
              <a:gd name="connsiteY66" fmla="*/ 84667 h 5178778"/>
              <a:gd name="connsiteX67" fmla="*/ 3416779 w 5519334"/>
              <a:gd name="connsiteY67" fmla="*/ 169333 h 5178778"/>
              <a:gd name="connsiteX68" fmla="*/ 3374446 w 5519334"/>
              <a:gd name="connsiteY68" fmla="*/ 211667 h 5178778"/>
              <a:gd name="connsiteX69" fmla="*/ 3318001 w 5519334"/>
              <a:gd name="connsiteY69" fmla="*/ 324555 h 5178778"/>
              <a:gd name="connsiteX70" fmla="*/ 3318001 w 5519334"/>
              <a:gd name="connsiteY70" fmla="*/ 381000 h 5178778"/>
              <a:gd name="connsiteX71" fmla="*/ 3176890 w 5519334"/>
              <a:gd name="connsiteY71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3007557 w 5519334"/>
              <a:gd name="connsiteY8" fmla="*/ 2088444 h 5178778"/>
              <a:gd name="connsiteX9" fmla="*/ 2951112 w 5519334"/>
              <a:gd name="connsiteY9" fmla="*/ 2130778 h 5178778"/>
              <a:gd name="connsiteX10" fmla="*/ 2852334 w 5519334"/>
              <a:gd name="connsiteY10" fmla="*/ 2229555 h 5178778"/>
              <a:gd name="connsiteX11" fmla="*/ 2654779 w 5519334"/>
              <a:gd name="connsiteY11" fmla="*/ 2398889 h 5178778"/>
              <a:gd name="connsiteX12" fmla="*/ 2330223 w 5519334"/>
              <a:gd name="connsiteY12" fmla="*/ 2667000 h 5178778"/>
              <a:gd name="connsiteX13" fmla="*/ 2118557 w 5519334"/>
              <a:gd name="connsiteY13" fmla="*/ 2751667 h 5178778"/>
              <a:gd name="connsiteX14" fmla="*/ 2033890 w 5519334"/>
              <a:gd name="connsiteY14" fmla="*/ 2765778 h 5178778"/>
              <a:gd name="connsiteX15" fmla="*/ 1723446 w 5519334"/>
              <a:gd name="connsiteY15" fmla="*/ 2808111 h 5178778"/>
              <a:gd name="connsiteX16" fmla="*/ 1286001 w 5519334"/>
              <a:gd name="connsiteY16" fmla="*/ 2850444 h 5178778"/>
              <a:gd name="connsiteX17" fmla="*/ 1017890 w 5519334"/>
              <a:gd name="connsiteY17" fmla="*/ 2892778 h 5178778"/>
              <a:gd name="connsiteX18" fmla="*/ 749779 w 5519334"/>
              <a:gd name="connsiteY18" fmla="*/ 2935111 h 5178778"/>
              <a:gd name="connsiteX19" fmla="*/ 707446 w 5519334"/>
              <a:gd name="connsiteY19" fmla="*/ 2963333 h 5178778"/>
              <a:gd name="connsiteX20" fmla="*/ 651001 w 5519334"/>
              <a:gd name="connsiteY20" fmla="*/ 3005667 h 5178778"/>
              <a:gd name="connsiteX21" fmla="*/ 453446 w 5519334"/>
              <a:gd name="connsiteY21" fmla="*/ 3118555 h 5178778"/>
              <a:gd name="connsiteX22" fmla="*/ 340557 w 5519334"/>
              <a:gd name="connsiteY22" fmla="*/ 3203222 h 5178778"/>
              <a:gd name="connsiteX23" fmla="*/ 171223 w 5519334"/>
              <a:gd name="connsiteY23" fmla="*/ 3414889 h 5178778"/>
              <a:gd name="connsiteX24" fmla="*/ 157112 w 5519334"/>
              <a:gd name="connsiteY24" fmla="*/ 3471333 h 5178778"/>
              <a:gd name="connsiteX25" fmla="*/ 16001 w 5519334"/>
              <a:gd name="connsiteY25" fmla="*/ 3781778 h 5178778"/>
              <a:gd name="connsiteX26" fmla="*/ 1890 w 5519334"/>
              <a:gd name="connsiteY26" fmla="*/ 3979333 h 5178778"/>
              <a:gd name="connsiteX27" fmla="*/ 72446 w 5519334"/>
              <a:gd name="connsiteY27" fmla="*/ 4275667 h 5178778"/>
              <a:gd name="connsiteX28" fmla="*/ 241779 w 5519334"/>
              <a:gd name="connsiteY28" fmla="*/ 4459111 h 5178778"/>
              <a:gd name="connsiteX29" fmla="*/ 524001 w 5519334"/>
              <a:gd name="connsiteY29" fmla="*/ 4670778 h 5178778"/>
              <a:gd name="connsiteX30" fmla="*/ 763890 w 5519334"/>
              <a:gd name="connsiteY30" fmla="*/ 4783667 h 5178778"/>
              <a:gd name="connsiteX31" fmla="*/ 1102557 w 5519334"/>
              <a:gd name="connsiteY31" fmla="*/ 4967111 h 5178778"/>
              <a:gd name="connsiteX32" fmla="*/ 1427112 w 5519334"/>
              <a:gd name="connsiteY32" fmla="*/ 5108222 h 5178778"/>
              <a:gd name="connsiteX33" fmla="*/ 1667001 w 5519334"/>
              <a:gd name="connsiteY33" fmla="*/ 5150555 h 5178778"/>
              <a:gd name="connsiteX34" fmla="*/ 2287890 w 5519334"/>
              <a:gd name="connsiteY34" fmla="*/ 5178778 h 5178778"/>
              <a:gd name="connsiteX35" fmla="*/ 3021668 w 5519334"/>
              <a:gd name="connsiteY35" fmla="*/ 5150555 h 5178778"/>
              <a:gd name="connsiteX36" fmla="*/ 3219223 w 5519334"/>
              <a:gd name="connsiteY36" fmla="*/ 5037667 h 5178778"/>
              <a:gd name="connsiteX37" fmla="*/ 3402668 w 5519334"/>
              <a:gd name="connsiteY37" fmla="*/ 4938889 h 5178778"/>
              <a:gd name="connsiteX38" fmla="*/ 3487334 w 5519334"/>
              <a:gd name="connsiteY38" fmla="*/ 4854222 h 5178778"/>
              <a:gd name="connsiteX39" fmla="*/ 3529668 w 5519334"/>
              <a:gd name="connsiteY39" fmla="*/ 4684889 h 5178778"/>
              <a:gd name="connsiteX40" fmla="*/ 3600223 w 5519334"/>
              <a:gd name="connsiteY40" fmla="*/ 4176889 h 5178778"/>
              <a:gd name="connsiteX41" fmla="*/ 3670779 w 5519334"/>
              <a:gd name="connsiteY41" fmla="*/ 4021667 h 5178778"/>
              <a:gd name="connsiteX42" fmla="*/ 3741334 w 5519334"/>
              <a:gd name="connsiteY42" fmla="*/ 3894667 h 5178778"/>
              <a:gd name="connsiteX43" fmla="*/ 3769557 w 5519334"/>
              <a:gd name="connsiteY43" fmla="*/ 3852333 h 5178778"/>
              <a:gd name="connsiteX44" fmla="*/ 4065890 w 5519334"/>
              <a:gd name="connsiteY44" fmla="*/ 3654778 h 5178778"/>
              <a:gd name="connsiteX45" fmla="*/ 4122334 w 5519334"/>
              <a:gd name="connsiteY45" fmla="*/ 3612444 h 5178778"/>
              <a:gd name="connsiteX46" fmla="*/ 4291668 w 5519334"/>
              <a:gd name="connsiteY46" fmla="*/ 3527778 h 5178778"/>
              <a:gd name="connsiteX47" fmla="*/ 4517446 w 5519334"/>
              <a:gd name="connsiteY47" fmla="*/ 3400778 h 5178778"/>
              <a:gd name="connsiteX48" fmla="*/ 4715001 w 5519334"/>
              <a:gd name="connsiteY48" fmla="*/ 3287889 h 5178778"/>
              <a:gd name="connsiteX49" fmla="*/ 4870223 w 5519334"/>
              <a:gd name="connsiteY49" fmla="*/ 3189111 h 5178778"/>
              <a:gd name="connsiteX50" fmla="*/ 5237112 w 5519334"/>
              <a:gd name="connsiteY50" fmla="*/ 3005667 h 5178778"/>
              <a:gd name="connsiteX51" fmla="*/ 5350001 w 5519334"/>
              <a:gd name="connsiteY51" fmla="*/ 2808111 h 5178778"/>
              <a:gd name="connsiteX52" fmla="*/ 5491112 w 5519334"/>
              <a:gd name="connsiteY52" fmla="*/ 2370667 h 5178778"/>
              <a:gd name="connsiteX53" fmla="*/ 5519334 w 5519334"/>
              <a:gd name="connsiteY53" fmla="*/ 2201333 h 5178778"/>
              <a:gd name="connsiteX54" fmla="*/ 5505223 w 5519334"/>
              <a:gd name="connsiteY54" fmla="*/ 1947333 h 5178778"/>
              <a:gd name="connsiteX55" fmla="*/ 5462890 w 5519334"/>
              <a:gd name="connsiteY55" fmla="*/ 1340555 h 5178778"/>
              <a:gd name="connsiteX56" fmla="*/ 5448779 w 5519334"/>
              <a:gd name="connsiteY56" fmla="*/ 620889 h 5178778"/>
              <a:gd name="connsiteX57" fmla="*/ 5420557 w 5519334"/>
              <a:gd name="connsiteY57" fmla="*/ 536222 h 5178778"/>
              <a:gd name="connsiteX58" fmla="*/ 5293557 w 5519334"/>
              <a:gd name="connsiteY58" fmla="*/ 197555 h 5178778"/>
              <a:gd name="connsiteX59" fmla="*/ 5251223 w 5519334"/>
              <a:gd name="connsiteY59" fmla="*/ 169333 h 5178778"/>
              <a:gd name="connsiteX60" fmla="*/ 5138334 w 5519334"/>
              <a:gd name="connsiteY60" fmla="*/ 84667 h 5178778"/>
              <a:gd name="connsiteX61" fmla="*/ 4503334 w 5519334"/>
              <a:gd name="connsiteY61" fmla="*/ 14111 h 5178778"/>
              <a:gd name="connsiteX62" fmla="*/ 4164668 w 5519334"/>
              <a:gd name="connsiteY62" fmla="*/ 0 h 5178778"/>
              <a:gd name="connsiteX63" fmla="*/ 3600223 w 5519334"/>
              <a:gd name="connsiteY63" fmla="*/ 28222 h 5178778"/>
              <a:gd name="connsiteX64" fmla="*/ 3543779 w 5519334"/>
              <a:gd name="connsiteY64" fmla="*/ 42333 h 5178778"/>
              <a:gd name="connsiteX65" fmla="*/ 3473223 w 5519334"/>
              <a:gd name="connsiteY65" fmla="*/ 84667 h 5178778"/>
              <a:gd name="connsiteX66" fmla="*/ 3416779 w 5519334"/>
              <a:gd name="connsiteY66" fmla="*/ 169333 h 5178778"/>
              <a:gd name="connsiteX67" fmla="*/ 3374446 w 5519334"/>
              <a:gd name="connsiteY67" fmla="*/ 211667 h 5178778"/>
              <a:gd name="connsiteX68" fmla="*/ 3318001 w 5519334"/>
              <a:gd name="connsiteY68" fmla="*/ 324555 h 5178778"/>
              <a:gd name="connsiteX69" fmla="*/ 3318001 w 5519334"/>
              <a:gd name="connsiteY69" fmla="*/ 381000 h 5178778"/>
              <a:gd name="connsiteX70" fmla="*/ 3176890 w 5519334"/>
              <a:gd name="connsiteY70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3007557 w 5519334"/>
              <a:gd name="connsiteY8" fmla="*/ 2088444 h 5178778"/>
              <a:gd name="connsiteX9" fmla="*/ 2951112 w 5519334"/>
              <a:gd name="connsiteY9" fmla="*/ 2130778 h 5178778"/>
              <a:gd name="connsiteX10" fmla="*/ 2852334 w 5519334"/>
              <a:gd name="connsiteY10" fmla="*/ 2229555 h 5178778"/>
              <a:gd name="connsiteX11" fmla="*/ 2654779 w 5519334"/>
              <a:gd name="connsiteY11" fmla="*/ 2398889 h 5178778"/>
              <a:gd name="connsiteX12" fmla="*/ 2330223 w 5519334"/>
              <a:gd name="connsiteY12" fmla="*/ 2667000 h 5178778"/>
              <a:gd name="connsiteX13" fmla="*/ 2118557 w 5519334"/>
              <a:gd name="connsiteY13" fmla="*/ 2751667 h 5178778"/>
              <a:gd name="connsiteX14" fmla="*/ 2033890 w 5519334"/>
              <a:gd name="connsiteY14" fmla="*/ 2765778 h 5178778"/>
              <a:gd name="connsiteX15" fmla="*/ 1723446 w 5519334"/>
              <a:gd name="connsiteY15" fmla="*/ 2808111 h 5178778"/>
              <a:gd name="connsiteX16" fmla="*/ 1286001 w 5519334"/>
              <a:gd name="connsiteY16" fmla="*/ 2850444 h 5178778"/>
              <a:gd name="connsiteX17" fmla="*/ 1017890 w 5519334"/>
              <a:gd name="connsiteY17" fmla="*/ 2892778 h 5178778"/>
              <a:gd name="connsiteX18" fmla="*/ 749779 w 5519334"/>
              <a:gd name="connsiteY18" fmla="*/ 2935111 h 5178778"/>
              <a:gd name="connsiteX19" fmla="*/ 707446 w 5519334"/>
              <a:gd name="connsiteY19" fmla="*/ 2963333 h 5178778"/>
              <a:gd name="connsiteX20" fmla="*/ 651001 w 5519334"/>
              <a:gd name="connsiteY20" fmla="*/ 3005667 h 5178778"/>
              <a:gd name="connsiteX21" fmla="*/ 453446 w 5519334"/>
              <a:gd name="connsiteY21" fmla="*/ 3118555 h 5178778"/>
              <a:gd name="connsiteX22" fmla="*/ 340557 w 5519334"/>
              <a:gd name="connsiteY22" fmla="*/ 3203222 h 5178778"/>
              <a:gd name="connsiteX23" fmla="*/ 171223 w 5519334"/>
              <a:gd name="connsiteY23" fmla="*/ 3414889 h 5178778"/>
              <a:gd name="connsiteX24" fmla="*/ 157112 w 5519334"/>
              <a:gd name="connsiteY24" fmla="*/ 3471333 h 5178778"/>
              <a:gd name="connsiteX25" fmla="*/ 16001 w 5519334"/>
              <a:gd name="connsiteY25" fmla="*/ 3781778 h 5178778"/>
              <a:gd name="connsiteX26" fmla="*/ 1890 w 5519334"/>
              <a:gd name="connsiteY26" fmla="*/ 3979333 h 5178778"/>
              <a:gd name="connsiteX27" fmla="*/ 72446 w 5519334"/>
              <a:gd name="connsiteY27" fmla="*/ 4275667 h 5178778"/>
              <a:gd name="connsiteX28" fmla="*/ 241779 w 5519334"/>
              <a:gd name="connsiteY28" fmla="*/ 4459111 h 5178778"/>
              <a:gd name="connsiteX29" fmla="*/ 524001 w 5519334"/>
              <a:gd name="connsiteY29" fmla="*/ 4670778 h 5178778"/>
              <a:gd name="connsiteX30" fmla="*/ 763890 w 5519334"/>
              <a:gd name="connsiteY30" fmla="*/ 4783667 h 5178778"/>
              <a:gd name="connsiteX31" fmla="*/ 1102557 w 5519334"/>
              <a:gd name="connsiteY31" fmla="*/ 4967111 h 5178778"/>
              <a:gd name="connsiteX32" fmla="*/ 1427112 w 5519334"/>
              <a:gd name="connsiteY32" fmla="*/ 5108222 h 5178778"/>
              <a:gd name="connsiteX33" fmla="*/ 1667001 w 5519334"/>
              <a:gd name="connsiteY33" fmla="*/ 5150555 h 5178778"/>
              <a:gd name="connsiteX34" fmla="*/ 2287890 w 5519334"/>
              <a:gd name="connsiteY34" fmla="*/ 5178778 h 5178778"/>
              <a:gd name="connsiteX35" fmla="*/ 3021668 w 5519334"/>
              <a:gd name="connsiteY35" fmla="*/ 5150555 h 5178778"/>
              <a:gd name="connsiteX36" fmla="*/ 3402668 w 5519334"/>
              <a:gd name="connsiteY36" fmla="*/ 4938889 h 5178778"/>
              <a:gd name="connsiteX37" fmla="*/ 3487334 w 5519334"/>
              <a:gd name="connsiteY37" fmla="*/ 4854222 h 5178778"/>
              <a:gd name="connsiteX38" fmla="*/ 3529668 w 5519334"/>
              <a:gd name="connsiteY38" fmla="*/ 4684889 h 5178778"/>
              <a:gd name="connsiteX39" fmla="*/ 3600223 w 5519334"/>
              <a:gd name="connsiteY39" fmla="*/ 4176889 h 5178778"/>
              <a:gd name="connsiteX40" fmla="*/ 3670779 w 5519334"/>
              <a:gd name="connsiteY40" fmla="*/ 4021667 h 5178778"/>
              <a:gd name="connsiteX41" fmla="*/ 3741334 w 5519334"/>
              <a:gd name="connsiteY41" fmla="*/ 3894667 h 5178778"/>
              <a:gd name="connsiteX42" fmla="*/ 3769557 w 5519334"/>
              <a:gd name="connsiteY42" fmla="*/ 3852333 h 5178778"/>
              <a:gd name="connsiteX43" fmla="*/ 4065890 w 5519334"/>
              <a:gd name="connsiteY43" fmla="*/ 3654778 h 5178778"/>
              <a:gd name="connsiteX44" fmla="*/ 4122334 w 5519334"/>
              <a:gd name="connsiteY44" fmla="*/ 3612444 h 5178778"/>
              <a:gd name="connsiteX45" fmla="*/ 4291668 w 5519334"/>
              <a:gd name="connsiteY45" fmla="*/ 3527778 h 5178778"/>
              <a:gd name="connsiteX46" fmla="*/ 4517446 w 5519334"/>
              <a:gd name="connsiteY46" fmla="*/ 3400778 h 5178778"/>
              <a:gd name="connsiteX47" fmla="*/ 4715001 w 5519334"/>
              <a:gd name="connsiteY47" fmla="*/ 3287889 h 5178778"/>
              <a:gd name="connsiteX48" fmla="*/ 4870223 w 5519334"/>
              <a:gd name="connsiteY48" fmla="*/ 3189111 h 5178778"/>
              <a:gd name="connsiteX49" fmla="*/ 5237112 w 5519334"/>
              <a:gd name="connsiteY49" fmla="*/ 3005667 h 5178778"/>
              <a:gd name="connsiteX50" fmla="*/ 5350001 w 5519334"/>
              <a:gd name="connsiteY50" fmla="*/ 2808111 h 5178778"/>
              <a:gd name="connsiteX51" fmla="*/ 5491112 w 5519334"/>
              <a:gd name="connsiteY51" fmla="*/ 2370667 h 5178778"/>
              <a:gd name="connsiteX52" fmla="*/ 5519334 w 5519334"/>
              <a:gd name="connsiteY52" fmla="*/ 2201333 h 5178778"/>
              <a:gd name="connsiteX53" fmla="*/ 5505223 w 5519334"/>
              <a:gd name="connsiteY53" fmla="*/ 1947333 h 5178778"/>
              <a:gd name="connsiteX54" fmla="*/ 5462890 w 5519334"/>
              <a:gd name="connsiteY54" fmla="*/ 1340555 h 5178778"/>
              <a:gd name="connsiteX55" fmla="*/ 5448779 w 5519334"/>
              <a:gd name="connsiteY55" fmla="*/ 620889 h 5178778"/>
              <a:gd name="connsiteX56" fmla="*/ 5420557 w 5519334"/>
              <a:gd name="connsiteY56" fmla="*/ 536222 h 5178778"/>
              <a:gd name="connsiteX57" fmla="*/ 5293557 w 5519334"/>
              <a:gd name="connsiteY57" fmla="*/ 197555 h 5178778"/>
              <a:gd name="connsiteX58" fmla="*/ 5251223 w 5519334"/>
              <a:gd name="connsiteY58" fmla="*/ 169333 h 5178778"/>
              <a:gd name="connsiteX59" fmla="*/ 5138334 w 5519334"/>
              <a:gd name="connsiteY59" fmla="*/ 84667 h 5178778"/>
              <a:gd name="connsiteX60" fmla="*/ 4503334 w 5519334"/>
              <a:gd name="connsiteY60" fmla="*/ 14111 h 5178778"/>
              <a:gd name="connsiteX61" fmla="*/ 4164668 w 5519334"/>
              <a:gd name="connsiteY61" fmla="*/ 0 h 5178778"/>
              <a:gd name="connsiteX62" fmla="*/ 3600223 w 5519334"/>
              <a:gd name="connsiteY62" fmla="*/ 28222 h 5178778"/>
              <a:gd name="connsiteX63" fmla="*/ 3543779 w 5519334"/>
              <a:gd name="connsiteY63" fmla="*/ 42333 h 5178778"/>
              <a:gd name="connsiteX64" fmla="*/ 3473223 w 5519334"/>
              <a:gd name="connsiteY64" fmla="*/ 84667 h 5178778"/>
              <a:gd name="connsiteX65" fmla="*/ 3416779 w 5519334"/>
              <a:gd name="connsiteY65" fmla="*/ 169333 h 5178778"/>
              <a:gd name="connsiteX66" fmla="*/ 3374446 w 5519334"/>
              <a:gd name="connsiteY66" fmla="*/ 211667 h 5178778"/>
              <a:gd name="connsiteX67" fmla="*/ 3318001 w 5519334"/>
              <a:gd name="connsiteY67" fmla="*/ 324555 h 5178778"/>
              <a:gd name="connsiteX68" fmla="*/ 3318001 w 5519334"/>
              <a:gd name="connsiteY68" fmla="*/ 381000 h 5178778"/>
              <a:gd name="connsiteX69" fmla="*/ 3176890 w 5519334"/>
              <a:gd name="connsiteY69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3007557 w 5519334"/>
              <a:gd name="connsiteY8" fmla="*/ 2088444 h 5178778"/>
              <a:gd name="connsiteX9" fmla="*/ 2951112 w 5519334"/>
              <a:gd name="connsiteY9" fmla="*/ 2130778 h 5178778"/>
              <a:gd name="connsiteX10" fmla="*/ 2852334 w 5519334"/>
              <a:gd name="connsiteY10" fmla="*/ 2229555 h 5178778"/>
              <a:gd name="connsiteX11" fmla="*/ 2654779 w 5519334"/>
              <a:gd name="connsiteY11" fmla="*/ 2398889 h 5178778"/>
              <a:gd name="connsiteX12" fmla="*/ 2330223 w 5519334"/>
              <a:gd name="connsiteY12" fmla="*/ 2667000 h 5178778"/>
              <a:gd name="connsiteX13" fmla="*/ 2118557 w 5519334"/>
              <a:gd name="connsiteY13" fmla="*/ 2751667 h 5178778"/>
              <a:gd name="connsiteX14" fmla="*/ 2033890 w 5519334"/>
              <a:gd name="connsiteY14" fmla="*/ 2765778 h 5178778"/>
              <a:gd name="connsiteX15" fmla="*/ 1723446 w 5519334"/>
              <a:gd name="connsiteY15" fmla="*/ 2808111 h 5178778"/>
              <a:gd name="connsiteX16" fmla="*/ 1286001 w 5519334"/>
              <a:gd name="connsiteY16" fmla="*/ 2850444 h 5178778"/>
              <a:gd name="connsiteX17" fmla="*/ 1017890 w 5519334"/>
              <a:gd name="connsiteY17" fmla="*/ 2892778 h 5178778"/>
              <a:gd name="connsiteX18" fmla="*/ 749779 w 5519334"/>
              <a:gd name="connsiteY18" fmla="*/ 2935111 h 5178778"/>
              <a:gd name="connsiteX19" fmla="*/ 707446 w 5519334"/>
              <a:gd name="connsiteY19" fmla="*/ 2963333 h 5178778"/>
              <a:gd name="connsiteX20" fmla="*/ 651001 w 5519334"/>
              <a:gd name="connsiteY20" fmla="*/ 3005667 h 5178778"/>
              <a:gd name="connsiteX21" fmla="*/ 453446 w 5519334"/>
              <a:gd name="connsiteY21" fmla="*/ 3118555 h 5178778"/>
              <a:gd name="connsiteX22" fmla="*/ 340557 w 5519334"/>
              <a:gd name="connsiteY22" fmla="*/ 3203222 h 5178778"/>
              <a:gd name="connsiteX23" fmla="*/ 171223 w 5519334"/>
              <a:gd name="connsiteY23" fmla="*/ 3414889 h 5178778"/>
              <a:gd name="connsiteX24" fmla="*/ 157112 w 5519334"/>
              <a:gd name="connsiteY24" fmla="*/ 3471333 h 5178778"/>
              <a:gd name="connsiteX25" fmla="*/ 16001 w 5519334"/>
              <a:gd name="connsiteY25" fmla="*/ 3781778 h 5178778"/>
              <a:gd name="connsiteX26" fmla="*/ 1890 w 5519334"/>
              <a:gd name="connsiteY26" fmla="*/ 3979333 h 5178778"/>
              <a:gd name="connsiteX27" fmla="*/ 72446 w 5519334"/>
              <a:gd name="connsiteY27" fmla="*/ 4275667 h 5178778"/>
              <a:gd name="connsiteX28" fmla="*/ 241779 w 5519334"/>
              <a:gd name="connsiteY28" fmla="*/ 4459111 h 5178778"/>
              <a:gd name="connsiteX29" fmla="*/ 524001 w 5519334"/>
              <a:gd name="connsiteY29" fmla="*/ 4670778 h 5178778"/>
              <a:gd name="connsiteX30" fmla="*/ 763890 w 5519334"/>
              <a:gd name="connsiteY30" fmla="*/ 4783667 h 5178778"/>
              <a:gd name="connsiteX31" fmla="*/ 1102557 w 5519334"/>
              <a:gd name="connsiteY31" fmla="*/ 4967111 h 5178778"/>
              <a:gd name="connsiteX32" fmla="*/ 1427112 w 5519334"/>
              <a:gd name="connsiteY32" fmla="*/ 5108222 h 5178778"/>
              <a:gd name="connsiteX33" fmla="*/ 1667001 w 5519334"/>
              <a:gd name="connsiteY33" fmla="*/ 5150555 h 5178778"/>
              <a:gd name="connsiteX34" fmla="*/ 2287890 w 5519334"/>
              <a:gd name="connsiteY34" fmla="*/ 5178778 h 5178778"/>
              <a:gd name="connsiteX35" fmla="*/ 3021668 w 5519334"/>
              <a:gd name="connsiteY35" fmla="*/ 5150555 h 5178778"/>
              <a:gd name="connsiteX36" fmla="*/ 3402668 w 5519334"/>
              <a:gd name="connsiteY36" fmla="*/ 4938889 h 5178778"/>
              <a:gd name="connsiteX37" fmla="*/ 3487334 w 5519334"/>
              <a:gd name="connsiteY37" fmla="*/ 4854222 h 5178778"/>
              <a:gd name="connsiteX38" fmla="*/ 3529668 w 5519334"/>
              <a:gd name="connsiteY38" fmla="*/ 4684889 h 5178778"/>
              <a:gd name="connsiteX39" fmla="*/ 3600223 w 5519334"/>
              <a:gd name="connsiteY39" fmla="*/ 4176889 h 5178778"/>
              <a:gd name="connsiteX40" fmla="*/ 3670779 w 5519334"/>
              <a:gd name="connsiteY40" fmla="*/ 4021667 h 5178778"/>
              <a:gd name="connsiteX41" fmla="*/ 3741334 w 5519334"/>
              <a:gd name="connsiteY41" fmla="*/ 3894667 h 5178778"/>
              <a:gd name="connsiteX42" fmla="*/ 4065890 w 5519334"/>
              <a:gd name="connsiteY42" fmla="*/ 3654778 h 5178778"/>
              <a:gd name="connsiteX43" fmla="*/ 4122334 w 5519334"/>
              <a:gd name="connsiteY43" fmla="*/ 3612444 h 5178778"/>
              <a:gd name="connsiteX44" fmla="*/ 4291668 w 5519334"/>
              <a:gd name="connsiteY44" fmla="*/ 3527778 h 5178778"/>
              <a:gd name="connsiteX45" fmla="*/ 4517446 w 5519334"/>
              <a:gd name="connsiteY45" fmla="*/ 3400778 h 5178778"/>
              <a:gd name="connsiteX46" fmla="*/ 4715001 w 5519334"/>
              <a:gd name="connsiteY46" fmla="*/ 3287889 h 5178778"/>
              <a:gd name="connsiteX47" fmla="*/ 4870223 w 5519334"/>
              <a:gd name="connsiteY47" fmla="*/ 3189111 h 5178778"/>
              <a:gd name="connsiteX48" fmla="*/ 5237112 w 5519334"/>
              <a:gd name="connsiteY48" fmla="*/ 3005667 h 5178778"/>
              <a:gd name="connsiteX49" fmla="*/ 5350001 w 5519334"/>
              <a:gd name="connsiteY49" fmla="*/ 2808111 h 5178778"/>
              <a:gd name="connsiteX50" fmla="*/ 5491112 w 5519334"/>
              <a:gd name="connsiteY50" fmla="*/ 2370667 h 5178778"/>
              <a:gd name="connsiteX51" fmla="*/ 5519334 w 5519334"/>
              <a:gd name="connsiteY51" fmla="*/ 2201333 h 5178778"/>
              <a:gd name="connsiteX52" fmla="*/ 5505223 w 5519334"/>
              <a:gd name="connsiteY52" fmla="*/ 1947333 h 5178778"/>
              <a:gd name="connsiteX53" fmla="*/ 5462890 w 5519334"/>
              <a:gd name="connsiteY53" fmla="*/ 1340555 h 5178778"/>
              <a:gd name="connsiteX54" fmla="*/ 5448779 w 5519334"/>
              <a:gd name="connsiteY54" fmla="*/ 620889 h 5178778"/>
              <a:gd name="connsiteX55" fmla="*/ 5420557 w 5519334"/>
              <a:gd name="connsiteY55" fmla="*/ 536222 h 5178778"/>
              <a:gd name="connsiteX56" fmla="*/ 5293557 w 5519334"/>
              <a:gd name="connsiteY56" fmla="*/ 197555 h 5178778"/>
              <a:gd name="connsiteX57" fmla="*/ 5251223 w 5519334"/>
              <a:gd name="connsiteY57" fmla="*/ 169333 h 5178778"/>
              <a:gd name="connsiteX58" fmla="*/ 5138334 w 5519334"/>
              <a:gd name="connsiteY58" fmla="*/ 84667 h 5178778"/>
              <a:gd name="connsiteX59" fmla="*/ 4503334 w 5519334"/>
              <a:gd name="connsiteY59" fmla="*/ 14111 h 5178778"/>
              <a:gd name="connsiteX60" fmla="*/ 4164668 w 5519334"/>
              <a:gd name="connsiteY60" fmla="*/ 0 h 5178778"/>
              <a:gd name="connsiteX61" fmla="*/ 3600223 w 5519334"/>
              <a:gd name="connsiteY61" fmla="*/ 28222 h 5178778"/>
              <a:gd name="connsiteX62" fmla="*/ 3543779 w 5519334"/>
              <a:gd name="connsiteY62" fmla="*/ 42333 h 5178778"/>
              <a:gd name="connsiteX63" fmla="*/ 3473223 w 5519334"/>
              <a:gd name="connsiteY63" fmla="*/ 84667 h 5178778"/>
              <a:gd name="connsiteX64" fmla="*/ 3416779 w 5519334"/>
              <a:gd name="connsiteY64" fmla="*/ 169333 h 5178778"/>
              <a:gd name="connsiteX65" fmla="*/ 3374446 w 5519334"/>
              <a:gd name="connsiteY65" fmla="*/ 211667 h 5178778"/>
              <a:gd name="connsiteX66" fmla="*/ 3318001 w 5519334"/>
              <a:gd name="connsiteY66" fmla="*/ 324555 h 5178778"/>
              <a:gd name="connsiteX67" fmla="*/ 3318001 w 5519334"/>
              <a:gd name="connsiteY67" fmla="*/ 381000 h 5178778"/>
              <a:gd name="connsiteX68" fmla="*/ 3176890 w 5519334"/>
              <a:gd name="connsiteY68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2951112 w 5519334"/>
              <a:gd name="connsiteY8" fmla="*/ 2130778 h 5178778"/>
              <a:gd name="connsiteX9" fmla="*/ 2852334 w 5519334"/>
              <a:gd name="connsiteY9" fmla="*/ 2229555 h 5178778"/>
              <a:gd name="connsiteX10" fmla="*/ 2654779 w 5519334"/>
              <a:gd name="connsiteY10" fmla="*/ 2398889 h 5178778"/>
              <a:gd name="connsiteX11" fmla="*/ 2330223 w 5519334"/>
              <a:gd name="connsiteY11" fmla="*/ 2667000 h 5178778"/>
              <a:gd name="connsiteX12" fmla="*/ 2118557 w 5519334"/>
              <a:gd name="connsiteY12" fmla="*/ 2751667 h 5178778"/>
              <a:gd name="connsiteX13" fmla="*/ 2033890 w 5519334"/>
              <a:gd name="connsiteY13" fmla="*/ 2765778 h 5178778"/>
              <a:gd name="connsiteX14" fmla="*/ 1723446 w 5519334"/>
              <a:gd name="connsiteY14" fmla="*/ 2808111 h 5178778"/>
              <a:gd name="connsiteX15" fmla="*/ 1286001 w 5519334"/>
              <a:gd name="connsiteY15" fmla="*/ 2850444 h 5178778"/>
              <a:gd name="connsiteX16" fmla="*/ 1017890 w 5519334"/>
              <a:gd name="connsiteY16" fmla="*/ 2892778 h 5178778"/>
              <a:gd name="connsiteX17" fmla="*/ 749779 w 5519334"/>
              <a:gd name="connsiteY17" fmla="*/ 2935111 h 5178778"/>
              <a:gd name="connsiteX18" fmla="*/ 707446 w 5519334"/>
              <a:gd name="connsiteY18" fmla="*/ 2963333 h 5178778"/>
              <a:gd name="connsiteX19" fmla="*/ 651001 w 5519334"/>
              <a:gd name="connsiteY19" fmla="*/ 3005667 h 5178778"/>
              <a:gd name="connsiteX20" fmla="*/ 453446 w 5519334"/>
              <a:gd name="connsiteY20" fmla="*/ 3118555 h 5178778"/>
              <a:gd name="connsiteX21" fmla="*/ 340557 w 5519334"/>
              <a:gd name="connsiteY21" fmla="*/ 3203222 h 5178778"/>
              <a:gd name="connsiteX22" fmla="*/ 171223 w 5519334"/>
              <a:gd name="connsiteY22" fmla="*/ 3414889 h 5178778"/>
              <a:gd name="connsiteX23" fmla="*/ 157112 w 5519334"/>
              <a:gd name="connsiteY23" fmla="*/ 3471333 h 5178778"/>
              <a:gd name="connsiteX24" fmla="*/ 16001 w 5519334"/>
              <a:gd name="connsiteY24" fmla="*/ 3781778 h 5178778"/>
              <a:gd name="connsiteX25" fmla="*/ 1890 w 5519334"/>
              <a:gd name="connsiteY25" fmla="*/ 3979333 h 5178778"/>
              <a:gd name="connsiteX26" fmla="*/ 72446 w 5519334"/>
              <a:gd name="connsiteY26" fmla="*/ 4275667 h 5178778"/>
              <a:gd name="connsiteX27" fmla="*/ 241779 w 5519334"/>
              <a:gd name="connsiteY27" fmla="*/ 4459111 h 5178778"/>
              <a:gd name="connsiteX28" fmla="*/ 524001 w 5519334"/>
              <a:gd name="connsiteY28" fmla="*/ 4670778 h 5178778"/>
              <a:gd name="connsiteX29" fmla="*/ 763890 w 5519334"/>
              <a:gd name="connsiteY29" fmla="*/ 4783667 h 5178778"/>
              <a:gd name="connsiteX30" fmla="*/ 1102557 w 5519334"/>
              <a:gd name="connsiteY30" fmla="*/ 4967111 h 5178778"/>
              <a:gd name="connsiteX31" fmla="*/ 1427112 w 5519334"/>
              <a:gd name="connsiteY31" fmla="*/ 5108222 h 5178778"/>
              <a:gd name="connsiteX32" fmla="*/ 1667001 w 5519334"/>
              <a:gd name="connsiteY32" fmla="*/ 5150555 h 5178778"/>
              <a:gd name="connsiteX33" fmla="*/ 2287890 w 5519334"/>
              <a:gd name="connsiteY33" fmla="*/ 5178778 h 5178778"/>
              <a:gd name="connsiteX34" fmla="*/ 3021668 w 5519334"/>
              <a:gd name="connsiteY34" fmla="*/ 5150555 h 5178778"/>
              <a:gd name="connsiteX35" fmla="*/ 3402668 w 5519334"/>
              <a:gd name="connsiteY35" fmla="*/ 4938889 h 5178778"/>
              <a:gd name="connsiteX36" fmla="*/ 3487334 w 5519334"/>
              <a:gd name="connsiteY36" fmla="*/ 4854222 h 5178778"/>
              <a:gd name="connsiteX37" fmla="*/ 3529668 w 5519334"/>
              <a:gd name="connsiteY37" fmla="*/ 4684889 h 5178778"/>
              <a:gd name="connsiteX38" fmla="*/ 3600223 w 5519334"/>
              <a:gd name="connsiteY38" fmla="*/ 4176889 h 5178778"/>
              <a:gd name="connsiteX39" fmla="*/ 3670779 w 5519334"/>
              <a:gd name="connsiteY39" fmla="*/ 4021667 h 5178778"/>
              <a:gd name="connsiteX40" fmla="*/ 3741334 w 5519334"/>
              <a:gd name="connsiteY40" fmla="*/ 3894667 h 5178778"/>
              <a:gd name="connsiteX41" fmla="*/ 4065890 w 5519334"/>
              <a:gd name="connsiteY41" fmla="*/ 3654778 h 5178778"/>
              <a:gd name="connsiteX42" fmla="*/ 4122334 w 5519334"/>
              <a:gd name="connsiteY42" fmla="*/ 3612444 h 5178778"/>
              <a:gd name="connsiteX43" fmla="*/ 4291668 w 5519334"/>
              <a:gd name="connsiteY43" fmla="*/ 3527778 h 5178778"/>
              <a:gd name="connsiteX44" fmla="*/ 4517446 w 5519334"/>
              <a:gd name="connsiteY44" fmla="*/ 3400778 h 5178778"/>
              <a:gd name="connsiteX45" fmla="*/ 4715001 w 5519334"/>
              <a:gd name="connsiteY45" fmla="*/ 3287889 h 5178778"/>
              <a:gd name="connsiteX46" fmla="*/ 4870223 w 5519334"/>
              <a:gd name="connsiteY46" fmla="*/ 3189111 h 5178778"/>
              <a:gd name="connsiteX47" fmla="*/ 5237112 w 5519334"/>
              <a:gd name="connsiteY47" fmla="*/ 3005667 h 5178778"/>
              <a:gd name="connsiteX48" fmla="*/ 5350001 w 5519334"/>
              <a:gd name="connsiteY48" fmla="*/ 2808111 h 5178778"/>
              <a:gd name="connsiteX49" fmla="*/ 5491112 w 5519334"/>
              <a:gd name="connsiteY49" fmla="*/ 2370667 h 5178778"/>
              <a:gd name="connsiteX50" fmla="*/ 5519334 w 5519334"/>
              <a:gd name="connsiteY50" fmla="*/ 2201333 h 5178778"/>
              <a:gd name="connsiteX51" fmla="*/ 5505223 w 5519334"/>
              <a:gd name="connsiteY51" fmla="*/ 1947333 h 5178778"/>
              <a:gd name="connsiteX52" fmla="*/ 5462890 w 5519334"/>
              <a:gd name="connsiteY52" fmla="*/ 1340555 h 5178778"/>
              <a:gd name="connsiteX53" fmla="*/ 5448779 w 5519334"/>
              <a:gd name="connsiteY53" fmla="*/ 620889 h 5178778"/>
              <a:gd name="connsiteX54" fmla="*/ 5420557 w 5519334"/>
              <a:gd name="connsiteY54" fmla="*/ 536222 h 5178778"/>
              <a:gd name="connsiteX55" fmla="*/ 5293557 w 5519334"/>
              <a:gd name="connsiteY55" fmla="*/ 197555 h 5178778"/>
              <a:gd name="connsiteX56" fmla="*/ 5251223 w 5519334"/>
              <a:gd name="connsiteY56" fmla="*/ 169333 h 5178778"/>
              <a:gd name="connsiteX57" fmla="*/ 5138334 w 5519334"/>
              <a:gd name="connsiteY57" fmla="*/ 84667 h 5178778"/>
              <a:gd name="connsiteX58" fmla="*/ 4503334 w 5519334"/>
              <a:gd name="connsiteY58" fmla="*/ 14111 h 5178778"/>
              <a:gd name="connsiteX59" fmla="*/ 4164668 w 5519334"/>
              <a:gd name="connsiteY59" fmla="*/ 0 h 5178778"/>
              <a:gd name="connsiteX60" fmla="*/ 3600223 w 5519334"/>
              <a:gd name="connsiteY60" fmla="*/ 28222 h 5178778"/>
              <a:gd name="connsiteX61" fmla="*/ 3543779 w 5519334"/>
              <a:gd name="connsiteY61" fmla="*/ 42333 h 5178778"/>
              <a:gd name="connsiteX62" fmla="*/ 3473223 w 5519334"/>
              <a:gd name="connsiteY62" fmla="*/ 84667 h 5178778"/>
              <a:gd name="connsiteX63" fmla="*/ 3416779 w 5519334"/>
              <a:gd name="connsiteY63" fmla="*/ 169333 h 5178778"/>
              <a:gd name="connsiteX64" fmla="*/ 3374446 w 5519334"/>
              <a:gd name="connsiteY64" fmla="*/ 211667 h 5178778"/>
              <a:gd name="connsiteX65" fmla="*/ 3318001 w 5519334"/>
              <a:gd name="connsiteY65" fmla="*/ 324555 h 5178778"/>
              <a:gd name="connsiteX66" fmla="*/ 3318001 w 5519334"/>
              <a:gd name="connsiteY66" fmla="*/ 381000 h 5178778"/>
              <a:gd name="connsiteX67" fmla="*/ 3176890 w 5519334"/>
              <a:gd name="connsiteY67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2951112 w 5519334"/>
              <a:gd name="connsiteY8" fmla="*/ 2130778 h 5178778"/>
              <a:gd name="connsiteX9" fmla="*/ 2852334 w 5519334"/>
              <a:gd name="connsiteY9" fmla="*/ 2229555 h 5178778"/>
              <a:gd name="connsiteX10" fmla="*/ 2654779 w 5519334"/>
              <a:gd name="connsiteY10" fmla="*/ 2398889 h 5178778"/>
              <a:gd name="connsiteX11" fmla="*/ 2330223 w 5519334"/>
              <a:gd name="connsiteY11" fmla="*/ 2667000 h 5178778"/>
              <a:gd name="connsiteX12" fmla="*/ 2118557 w 5519334"/>
              <a:gd name="connsiteY12" fmla="*/ 2751667 h 5178778"/>
              <a:gd name="connsiteX13" fmla="*/ 2033890 w 5519334"/>
              <a:gd name="connsiteY13" fmla="*/ 2765778 h 5178778"/>
              <a:gd name="connsiteX14" fmla="*/ 1723446 w 5519334"/>
              <a:gd name="connsiteY14" fmla="*/ 2808111 h 5178778"/>
              <a:gd name="connsiteX15" fmla="*/ 1286001 w 5519334"/>
              <a:gd name="connsiteY15" fmla="*/ 2850444 h 5178778"/>
              <a:gd name="connsiteX16" fmla="*/ 1017890 w 5519334"/>
              <a:gd name="connsiteY16" fmla="*/ 2892778 h 5178778"/>
              <a:gd name="connsiteX17" fmla="*/ 749779 w 5519334"/>
              <a:gd name="connsiteY17" fmla="*/ 2935111 h 5178778"/>
              <a:gd name="connsiteX18" fmla="*/ 707446 w 5519334"/>
              <a:gd name="connsiteY18" fmla="*/ 2963333 h 5178778"/>
              <a:gd name="connsiteX19" fmla="*/ 651001 w 5519334"/>
              <a:gd name="connsiteY19" fmla="*/ 3005667 h 5178778"/>
              <a:gd name="connsiteX20" fmla="*/ 453446 w 5519334"/>
              <a:gd name="connsiteY20" fmla="*/ 3118555 h 5178778"/>
              <a:gd name="connsiteX21" fmla="*/ 340557 w 5519334"/>
              <a:gd name="connsiteY21" fmla="*/ 3203222 h 5178778"/>
              <a:gd name="connsiteX22" fmla="*/ 171223 w 5519334"/>
              <a:gd name="connsiteY22" fmla="*/ 3414889 h 5178778"/>
              <a:gd name="connsiteX23" fmla="*/ 157112 w 5519334"/>
              <a:gd name="connsiteY23" fmla="*/ 3471333 h 5178778"/>
              <a:gd name="connsiteX24" fmla="*/ 16001 w 5519334"/>
              <a:gd name="connsiteY24" fmla="*/ 3781778 h 5178778"/>
              <a:gd name="connsiteX25" fmla="*/ 1890 w 5519334"/>
              <a:gd name="connsiteY25" fmla="*/ 3979333 h 5178778"/>
              <a:gd name="connsiteX26" fmla="*/ 72446 w 5519334"/>
              <a:gd name="connsiteY26" fmla="*/ 4275667 h 5178778"/>
              <a:gd name="connsiteX27" fmla="*/ 241779 w 5519334"/>
              <a:gd name="connsiteY27" fmla="*/ 4459111 h 5178778"/>
              <a:gd name="connsiteX28" fmla="*/ 524001 w 5519334"/>
              <a:gd name="connsiteY28" fmla="*/ 4670778 h 5178778"/>
              <a:gd name="connsiteX29" fmla="*/ 763890 w 5519334"/>
              <a:gd name="connsiteY29" fmla="*/ 4783667 h 5178778"/>
              <a:gd name="connsiteX30" fmla="*/ 1102557 w 5519334"/>
              <a:gd name="connsiteY30" fmla="*/ 4967111 h 5178778"/>
              <a:gd name="connsiteX31" fmla="*/ 1427112 w 5519334"/>
              <a:gd name="connsiteY31" fmla="*/ 5108222 h 5178778"/>
              <a:gd name="connsiteX32" fmla="*/ 1667001 w 5519334"/>
              <a:gd name="connsiteY32" fmla="*/ 5150555 h 5178778"/>
              <a:gd name="connsiteX33" fmla="*/ 2287890 w 5519334"/>
              <a:gd name="connsiteY33" fmla="*/ 5178778 h 5178778"/>
              <a:gd name="connsiteX34" fmla="*/ 3021668 w 5519334"/>
              <a:gd name="connsiteY34" fmla="*/ 5150555 h 5178778"/>
              <a:gd name="connsiteX35" fmla="*/ 3402668 w 5519334"/>
              <a:gd name="connsiteY35" fmla="*/ 4938889 h 5178778"/>
              <a:gd name="connsiteX36" fmla="*/ 3487334 w 5519334"/>
              <a:gd name="connsiteY36" fmla="*/ 4854222 h 5178778"/>
              <a:gd name="connsiteX37" fmla="*/ 3529668 w 5519334"/>
              <a:gd name="connsiteY37" fmla="*/ 4684889 h 5178778"/>
              <a:gd name="connsiteX38" fmla="*/ 3600223 w 5519334"/>
              <a:gd name="connsiteY38" fmla="*/ 4176889 h 5178778"/>
              <a:gd name="connsiteX39" fmla="*/ 3670779 w 5519334"/>
              <a:gd name="connsiteY39" fmla="*/ 4021667 h 5178778"/>
              <a:gd name="connsiteX40" fmla="*/ 3741334 w 5519334"/>
              <a:gd name="connsiteY40" fmla="*/ 3894667 h 5178778"/>
              <a:gd name="connsiteX41" fmla="*/ 4065890 w 5519334"/>
              <a:gd name="connsiteY41" fmla="*/ 3654778 h 5178778"/>
              <a:gd name="connsiteX42" fmla="*/ 4122334 w 5519334"/>
              <a:gd name="connsiteY42" fmla="*/ 3612444 h 5178778"/>
              <a:gd name="connsiteX43" fmla="*/ 4291668 w 5519334"/>
              <a:gd name="connsiteY43" fmla="*/ 3527778 h 5178778"/>
              <a:gd name="connsiteX44" fmla="*/ 4517446 w 5519334"/>
              <a:gd name="connsiteY44" fmla="*/ 3400778 h 5178778"/>
              <a:gd name="connsiteX45" fmla="*/ 4715001 w 5519334"/>
              <a:gd name="connsiteY45" fmla="*/ 3287889 h 5178778"/>
              <a:gd name="connsiteX46" fmla="*/ 4870223 w 5519334"/>
              <a:gd name="connsiteY46" fmla="*/ 3189111 h 5178778"/>
              <a:gd name="connsiteX47" fmla="*/ 5237112 w 5519334"/>
              <a:gd name="connsiteY47" fmla="*/ 3005667 h 5178778"/>
              <a:gd name="connsiteX48" fmla="*/ 5350001 w 5519334"/>
              <a:gd name="connsiteY48" fmla="*/ 2808111 h 5178778"/>
              <a:gd name="connsiteX49" fmla="*/ 5491112 w 5519334"/>
              <a:gd name="connsiteY49" fmla="*/ 2370667 h 5178778"/>
              <a:gd name="connsiteX50" fmla="*/ 5519334 w 5519334"/>
              <a:gd name="connsiteY50" fmla="*/ 2201333 h 5178778"/>
              <a:gd name="connsiteX51" fmla="*/ 5505223 w 5519334"/>
              <a:gd name="connsiteY51" fmla="*/ 1947333 h 5178778"/>
              <a:gd name="connsiteX52" fmla="*/ 5462890 w 5519334"/>
              <a:gd name="connsiteY52" fmla="*/ 1340555 h 5178778"/>
              <a:gd name="connsiteX53" fmla="*/ 5448779 w 5519334"/>
              <a:gd name="connsiteY53" fmla="*/ 620889 h 5178778"/>
              <a:gd name="connsiteX54" fmla="*/ 5420557 w 5519334"/>
              <a:gd name="connsiteY54" fmla="*/ 536222 h 5178778"/>
              <a:gd name="connsiteX55" fmla="*/ 5293557 w 5519334"/>
              <a:gd name="connsiteY55" fmla="*/ 197555 h 5178778"/>
              <a:gd name="connsiteX56" fmla="*/ 5251223 w 5519334"/>
              <a:gd name="connsiteY56" fmla="*/ 169333 h 5178778"/>
              <a:gd name="connsiteX57" fmla="*/ 5138334 w 5519334"/>
              <a:gd name="connsiteY57" fmla="*/ 84667 h 5178778"/>
              <a:gd name="connsiteX58" fmla="*/ 4503334 w 5519334"/>
              <a:gd name="connsiteY58" fmla="*/ 14111 h 5178778"/>
              <a:gd name="connsiteX59" fmla="*/ 4164668 w 5519334"/>
              <a:gd name="connsiteY59" fmla="*/ 0 h 5178778"/>
              <a:gd name="connsiteX60" fmla="*/ 3600223 w 5519334"/>
              <a:gd name="connsiteY60" fmla="*/ 28222 h 5178778"/>
              <a:gd name="connsiteX61" fmla="*/ 3543779 w 5519334"/>
              <a:gd name="connsiteY61" fmla="*/ 42333 h 5178778"/>
              <a:gd name="connsiteX62" fmla="*/ 3473223 w 5519334"/>
              <a:gd name="connsiteY62" fmla="*/ 84667 h 5178778"/>
              <a:gd name="connsiteX63" fmla="*/ 3416779 w 5519334"/>
              <a:gd name="connsiteY63" fmla="*/ 169333 h 5178778"/>
              <a:gd name="connsiteX64" fmla="*/ 3318001 w 5519334"/>
              <a:gd name="connsiteY64" fmla="*/ 324555 h 5178778"/>
              <a:gd name="connsiteX65" fmla="*/ 3318001 w 5519334"/>
              <a:gd name="connsiteY65" fmla="*/ 381000 h 5178778"/>
              <a:gd name="connsiteX66" fmla="*/ 3176890 w 5519334"/>
              <a:gd name="connsiteY66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2951112 w 5519334"/>
              <a:gd name="connsiteY8" fmla="*/ 2130778 h 5178778"/>
              <a:gd name="connsiteX9" fmla="*/ 2852334 w 5519334"/>
              <a:gd name="connsiteY9" fmla="*/ 2229555 h 5178778"/>
              <a:gd name="connsiteX10" fmla="*/ 2654779 w 5519334"/>
              <a:gd name="connsiteY10" fmla="*/ 2398889 h 5178778"/>
              <a:gd name="connsiteX11" fmla="*/ 2330223 w 5519334"/>
              <a:gd name="connsiteY11" fmla="*/ 2667000 h 5178778"/>
              <a:gd name="connsiteX12" fmla="*/ 2118557 w 5519334"/>
              <a:gd name="connsiteY12" fmla="*/ 2751667 h 5178778"/>
              <a:gd name="connsiteX13" fmla="*/ 2033890 w 5519334"/>
              <a:gd name="connsiteY13" fmla="*/ 2765778 h 5178778"/>
              <a:gd name="connsiteX14" fmla="*/ 1723446 w 5519334"/>
              <a:gd name="connsiteY14" fmla="*/ 2808111 h 5178778"/>
              <a:gd name="connsiteX15" fmla="*/ 1286001 w 5519334"/>
              <a:gd name="connsiteY15" fmla="*/ 2850444 h 5178778"/>
              <a:gd name="connsiteX16" fmla="*/ 1017890 w 5519334"/>
              <a:gd name="connsiteY16" fmla="*/ 2892778 h 5178778"/>
              <a:gd name="connsiteX17" fmla="*/ 749779 w 5519334"/>
              <a:gd name="connsiteY17" fmla="*/ 2935111 h 5178778"/>
              <a:gd name="connsiteX18" fmla="*/ 707446 w 5519334"/>
              <a:gd name="connsiteY18" fmla="*/ 2963333 h 5178778"/>
              <a:gd name="connsiteX19" fmla="*/ 651001 w 5519334"/>
              <a:gd name="connsiteY19" fmla="*/ 3005667 h 5178778"/>
              <a:gd name="connsiteX20" fmla="*/ 453446 w 5519334"/>
              <a:gd name="connsiteY20" fmla="*/ 3118555 h 5178778"/>
              <a:gd name="connsiteX21" fmla="*/ 340557 w 5519334"/>
              <a:gd name="connsiteY21" fmla="*/ 3203222 h 5178778"/>
              <a:gd name="connsiteX22" fmla="*/ 171223 w 5519334"/>
              <a:gd name="connsiteY22" fmla="*/ 3414889 h 5178778"/>
              <a:gd name="connsiteX23" fmla="*/ 157112 w 5519334"/>
              <a:gd name="connsiteY23" fmla="*/ 3471333 h 5178778"/>
              <a:gd name="connsiteX24" fmla="*/ 16001 w 5519334"/>
              <a:gd name="connsiteY24" fmla="*/ 3781778 h 5178778"/>
              <a:gd name="connsiteX25" fmla="*/ 1890 w 5519334"/>
              <a:gd name="connsiteY25" fmla="*/ 3979333 h 5178778"/>
              <a:gd name="connsiteX26" fmla="*/ 72446 w 5519334"/>
              <a:gd name="connsiteY26" fmla="*/ 4275667 h 5178778"/>
              <a:gd name="connsiteX27" fmla="*/ 241779 w 5519334"/>
              <a:gd name="connsiteY27" fmla="*/ 4459111 h 5178778"/>
              <a:gd name="connsiteX28" fmla="*/ 524001 w 5519334"/>
              <a:gd name="connsiteY28" fmla="*/ 4670778 h 5178778"/>
              <a:gd name="connsiteX29" fmla="*/ 763890 w 5519334"/>
              <a:gd name="connsiteY29" fmla="*/ 4783667 h 5178778"/>
              <a:gd name="connsiteX30" fmla="*/ 1102557 w 5519334"/>
              <a:gd name="connsiteY30" fmla="*/ 4967111 h 5178778"/>
              <a:gd name="connsiteX31" fmla="*/ 1427112 w 5519334"/>
              <a:gd name="connsiteY31" fmla="*/ 5108222 h 5178778"/>
              <a:gd name="connsiteX32" fmla="*/ 1667001 w 5519334"/>
              <a:gd name="connsiteY32" fmla="*/ 5150555 h 5178778"/>
              <a:gd name="connsiteX33" fmla="*/ 2287890 w 5519334"/>
              <a:gd name="connsiteY33" fmla="*/ 5178778 h 5178778"/>
              <a:gd name="connsiteX34" fmla="*/ 3021668 w 5519334"/>
              <a:gd name="connsiteY34" fmla="*/ 5150555 h 5178778"/>
              <a:gd name="connsiteX35" fmla="*/ 3402668 w 5519334"/>
              <a:gd name="connsiteY35" fmla="*/ 4938889 h 5178778"/>
              <a:gd name="connsiteX36" fmla="*/ 3487334 w 5519334"/>
              <a:gd name="connsiteY36" fmla="*/ 4854222 h 5178778"/>
              <a:gd name="connsiteX37" fmla="*/ 3529668 w 5519334"/>
              <a:gd name="connsiteY37" fmla="*/ 4684889 h 5178778"/>
              <a:gd name="connsiteX38" fmla="*/ 3600223 w 5519334"/>
              <a:gd name="connsiteY38" fmla="*/ 4176889 h 5178778"/>
              <a:gd name="connsiteX39" fmla="*/ 3670779 w 5519334"/>
              <a:gd name="connsiteY39" fmla="*/ 4021667 h 5178778"/>
              <a:gd name="connsiteX40" fmla="*/ 3741334 w 5519334"/>
              <a:gd name="connsiteY40" fmla="*/ 3894667 h 5178778"/>
              <a:gd name="connsiteX41" fmla="*/ 4065890 w 5519334"/>
              <a:gd name="connsiteY41" fmla="*/ 3654778 h 5178778"/>
              <a:gd name="connsiteX42" fmla="*/ 4122334 w 5519334"/>
              <a:gd name="connsiteY42" fmla="*/ 3612444 h 5178778"/>
              <a:gd name="connsiteX43" fmla="*/ 4291668 w 5519334"/>
              <a:gd name="connsiteY43" fmla="*/ 3527778 h 5178778"/>
              <a:gd name="connsiteX44" fmla="*/ 4517446 w 5519334"/>
              <a:gd name="connsiteY44" fmla="*/ 3400778 h 5178778"/>
              <a:gd name="connsiteX45" fmla="*/ 4715001 w 5519334"/>
              <a:gd name="connsiteY45" fmla="*/ 3287889 h 5178778"/>
              <a:gd name="connsiteX46" fmla="*/ 4870223 w 5519334"/>
              <a:gd name="connsiteY46" fmla="*/ 3189111 h 5178778"/>
              <a:gd name="connsiteX47" fmla="*/ 5237112 w 5519334"/>
              <a:gd name="connsiteY47" fmla="*/ 3005667 h 5178778"/>
              <a:gd name="connsiteX48" fmla="*/ 5350001 w 5519334"/>
              <a:gd name="connsiteY48" fmla="*/ 2808111 h 5178778"/>
              <a:gd name="connsiteX49" fmla="*/ 5491112 w 5519334"/>
              <a:gd name="connsiteY49" fmla="*/ 2370667 h 5178778"/>
              <a:gd name="connsiteX50" fmla="*/ 5519334 w 5519334"/>
              <a:gd name="connsiteY50" fmla="*/ 2201333 h 5178778"/>
              <a:gd name="connsiteX51" fmla="*/ 5505223 w 5519334"/>
              <a:gd name="connsiteY51" fmla="*/ 1947333 h 5178778"/>
              <a:gd name="connsiteX52" fmla="*/ 5462890 w 5519334"/>
              <a:gd name="connsiteY52" fmla="*/ 1340555 h 5178778"/>
              <a:gd name="connsiteX53" fmla="*/ 5448779 w 5519334"/>
              <a:gd name="connsiteY53" fmla="*/ 620889 h 5178778"/>
              <a:gd name="connsiteX54" fmla="*/ 5420557 w 5519334"/>
              <a:gd name="connsiteY54" fmla="*/ 536222 h 5178778"/>
              <a:gd name="connsiteX55" fmla="*/ 5293557 w 5519334"/>
              <a:gd name="connsiteY55" fmla="*/ 197555 h 5178778"/>
              <a:gd name="connsiteX56" fmla="*/ 5251223 w 5519334"/>
              <a:gd name="connsiteY56" fmla="*/ 169333 h 5178778"/>
              <a:gd name="connsiteX57" fmla="*/ 5138334 w 5519334"/>
              <a:gd name="connsiteY57" fmla="*/ 84667 h 5178778"/>
              <a:gd name="connsiteX58" fmla="*/ 4503334 w 5519334"/>
              <a:gd name="connsiteY58" fmla="*/ 14111 h 5178778"/>
              <a:gd name="connsiteX59" fmla="*/ 4164668 w 5519334"/>
              <a:gd name="connsiteY59" fmla="*/ 0 h 5178778"/>
              <a:gd name="connsiteX60" fmla="*/ 3600223 w 5519334"/>
              <a:gd name="connsiteY60" fmla="*/ 28222 h 5178778"/>
              <a:gd name="connsiteX61" fmla="*/ 3543779 w 5519334"/>
              <a:gd name="connsiteY61" fmla="*/ 42333 h 5178778"/>
              <a:gd name="connsiteX62" fmla="*/ 3473223 w 5519334"/>
              <a:gd name="connsiteY62" fmla="*/ 84667 h 5178778"/>
              <a:gd name="connsiteX63" fmla="*/ 3318001 w 5519334"/>
              <a:gd name="connsiteY63" fmla="*/ 324555 h 5178778"/>
              <a:gd name="connsiteX64" fmla="*/ 3318001 w 5519334"/>
              <a:gd name="connsiteY64" fmla="*/ 381000 h 5178778"/>
              <a:gd name="connsiteX65" fmla="*/ 3176890 w 5519334"/>
              <a:gd name="connsiteY65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06334 w 5519334"/>
              <a:gd name="connsiteY3" fmla="*/ 1143000 h 5178778"/>
              <a:gd name="connsiteX4" fmla="*/ 3092223 w 5519334"/>
              <a:gd name="connsiteY4" fmla="*/ 1270000 h 5178778"/>
              <a:gd name="connsiteX5" fmla="*/ 3064001 w 5519334"/>
              <a:gd name="connsiteY5" fmla="*/ 1453444 h 5178778"/>
              <a:gd name="connsiteX6" fmla="*/ 3035779 w 5519334"/>
              <a:gd name="connsiteY6" fmla="*/ 1905000 h 5178778"/>
              <a:gd name="connsiteX7" fmla="*/ 3021668 w 5519334"/>
              <a:gd name="connsiteY7" fmla="*/ 2032000 h 5178778"/>
              <a:gd name="connsiteX8" fmla="*/ 2951112 w 5519334"/>
              <a:gd name="connsiteY8" fmla="*/ 2130778 h 5178778"/>
              <a:gd name="connsiteX9" fmla="*/ 2852334 w 5519334"/>
              <a:gd name="connsiteY9" fmla="*/ 2229555 h 5178778"/>
              <a:gd name="connsiteX10" fmla="*/ 2654779 w 5519334"/>
              <a:gd name="connsiteY10" fmla="*/ 2398889 h 5178778"/>
              <a:gd name="connsiteX11" fmla="*/ 2330223 w 5519334"/>
              <a:gd name="connsiteY11" fmla="*/ 2667000 h 5178778"/>
              <a:gd name="connsiteX12" fmla="*/ 2118557 w 5519334"/>
              <a:gd name="connsiteY12" fmla="*/ 2751667 h 5178778"/>
              <a:gd name="connsiteX13" fmla="*/ 2033890 w 5519334"/>
              <a:gd name="connsiteY13" fmla="*/ 2765778 h 5178778"/>
              <a:gd name="connsiteX14" fmla="*/ 1723446 w 5519334"/>
              <a:gd name="connsiteY14" fmla="*/ 2808111 h 5178778"/>
              <a:gd name="connsiteX15" fmla="*/ 1286001 w 5519334"/>
              <a:gd name="connsiteY15" fmla="*/ 2850444 h 5178778"/>
              <a:gd name="connsiteX16" fmla="*/ 1017890 w 5519334"/>
              <a:gd name="connsiteY16" fmla="*/ 2892778 h 5178778"/>
              <a:gd name="connsiteX17" fmla="*/ 749779 w 5519334"/>
              <a:gd name="connsiteY17" fmla="*/ 2935111 h 5178778"/>
              <a:gd name="connsiteX18" fmla="*/ 707446 w 5519334"/>
              <a:gd name="connsiteY18" fmla="*/ 2963333 h 5178778"/>
              <a:gd name="connsiteX19" fmla="*/ 651001 w 5519334"/>
              <a:gd name="connsiteY19" fmla="*/ 3005667 h 5178778"/>
              <a:gd name="connsiteX20" fmla="*/ 453446 w 5519334"/>
              <a:gd name="connsiteY20" fmla="*/ 3118555 h 5178778"/>
              <a:gd name="connsiteX21" fmla="*/ 340557 w 5519334"/>
              <a:gd name="connsiteY21" fmla="*/ 3203222 h 5178778"/>
              <a:gd name="connsiteX22" fmla="*/ 171223 w 5519334"/>
              <a:gd name="connsiteY22" fmla="*/ 3414889 h 5178778"/>
              <a:gd name="connsiteX23" fmla="*/ 157112 w 5519334"/>
              <a:gd name="connsiteY23" fmla="*/ 3471333 h 5178778"/>
              <a:gd name="connsiteX24" fmla="*/ 16001 w 5519334"/>
              <a:gd name="connsiteY24" fmla="*/ 3781778 h 5178778"/>
              <a:gd name="connsiteX25" fmla="*/ 1890 w 5519334"/>
              <a:gd name="connsiteY25" fmla="*/ 3979333 h 5178778"/>
              <a:gd name="connsiteX26" fmla="*/ 72446 w 5519334"/>
              <a:gd name="connsiteY26" fmla="*/ 4275667 h 5178778"/>
              <a:gd name="connsiteX27" fmla="*/ 241779 w 5519334"/>
              <a:gd name="connsiteY27" fmla="*/ 4459111 h 5178778"/>
              <a:gd name="connsiteX28" fmla="*/ 524001 w 5519334"/>
              <a:gd name="connsiteY28" fmla="*/ 4670778 h 5178778"/>
              <a:gd name="connsiteX29" fmla="*/ 763890 w 5519334"/>
              <a:gd name="connsiteY29" fmla="*/ 4783667 h 5178778"/>
              <a:gd name="connsiteX30" fmla="*/ 1102557 w 5519334"/>
              <a:gd name="connsiteY30" fmla="*/ 4967111 h 5178778"/>
              <a:gd name="connsiteX31" fmla="*/ 1427112 w 5519334"/>
              <a:gd name="connsiteY31" fmla="*/ 5108222 h 5178778"/>
              <a:gd name="connsiteX32" fmla="*/ 1667001 w 5519334"/>
              <a:gd name="connsiteY32" fmla="*/ 5150555 h 5178778"/>
              <a:gd name="connsiteX33" fmla="*/ 2287890 w 5519334"/>
              <a:gd name="connsiteY33" fmla="*/ 5178778 h 5178778"/>
              <a:gd name="connsiteX34" fmla="*/ 3021668 w 5519334"/>
              <a:gd name="connsiteY34" fmla="*/ 5150555 h 5178778"/>
              <a:gd name="connsiteX35" fmla="*/ 3402668 w 5519334"/>
              <a:gd name="connsiteY35" fmla="*/ 4938889 h 5178778"/>
              <a:gd name="connsiteX36" fmla="*/ 3487334 w 5519334"/>
              <a:gd name="connsiteY36" fmla="*/ 4854222 h 5178778"/>
              <a:gd name="connsiteX37" fmla="*/ 3529668 w 5519334"/>
              <a:gd name="connsiteY37" fmla="*/ 4684889 h 5178778"/>
              <a:gd name="connsiteX38" fmla="*/ 3600223 w 5519334"/>
              <a:gd name="connsiteY38" fmla="*/ 4176889 h 5178778"/>
              <a:gd name="connsiteX39" fmla="*/ 3670779 w 5519334"/>
              <a:gd name="connsiteY39" fmla="*/ 4021667 h 5178778"/>
              <a:gd name="connsiteX40" fmla="*/ 3741334 w 5519334"/>
              <a:gd name="connsiteY40" fmla="*/ 3894667 h 5178778"/>
              <a:gd name="connsiteX41" fmla="*/ 4065890 w 5519334"/>
              <a:gd name="connsiteY41" fmla="*/ 3654778 h 5178778"/>
              <a:gd name="connsiteX42" fmla="*/ 4122334 w 5519334"/>
              <a:gd name="connsiteY42" fmla="*/ 3612444 h 5178778"/>
              <a:gd name="connsiteX43" fmla="*/ 4291668 w 5519334"/>
              <a:gd name="connsiteY43" fmla="*/ 3527778 h 5178778"/>
              <a:gd name="connsiteX44" fmla="*/ 4517446 w 5519334"/>
              <a:gd name="connsiteY44" fmla="*/ 3400778 h 5178778"/>
              <a:gd name="connsiteX45" fmla="*/ 4715001 w 5519334"/>
              <a:gd name="connsiteY45" fmla="*/ 3287889 h 5178778"/>
              <a:gd name="connsiteX46" fmla="*/ 4870223 w 5519334"/>
              <a:gd name="connsiteY46" fmla="*/ 3189111 h 5178778"/>
              <a:gd name="connsiteX47" fmla="*/ 5237112 w 5519334"/>
              <a:gd name="connsiteY47" fmla="*/ 3005667 h 5178778"/>
              <a:gd name="connsiteX48" fmla="*/ 5350001 w 5519334"/>
              <a:gd name="connsiteY48" fmla="*/ 2808111 h 5178778"/>
              <a:gd name="connsiteX49" fmla="*/ 5491112 w 5519334"/>
              <a:gd name="connsiteY49" fmla="*/ 2370667 h 5178778"/>
              <a:gd name="connsiteX50" fmla="*/ 5519334 w 5519334"/>
              <a:gd name="connsiteY50" fmla="*/ 2201333 h 5178778"/>
              <a:gd name="connsiteX51" fmla="*/ 5505223 w 5519334"/>
              <a:gd name="connsiteY51" fmla="*/ 1947333 h 5178778"/>
              <a:gd name="connsiteX52" fmla="*/ 5462890 w 5519334"/>
              <a:gd name="connsiteY52" fmla="*/ 1340555 h 5178778"/>
              <a:gd name="connsiteX53" fmla="*/ 5448779 w 5519334"/>
              <a:gd name="connsiteY53" fmla="*/ 620889 h 5178778"/>
              <a:gd name="connsiteX54" fmla="*/ 5420557 w 5519334"/>
              <a:gd name="connsiteY54" fmla="*/ 536222 h 5178778"/>
              <a:gd name="connsiteX55" fmla="*/ 5293557 w 5519334"/>
              <a:gd name="connsiteY55" fmla="*/ 197555 h 5178778"/>
              <a:gd name="connsiteX56" fmla="*/ 5251223 w 5519334"/>
              <a:gd name="connsiteY56" fmla="*/ 169333 h 5178778"/>
              <a:gd name="connsiteX57" fmla="*/ 5138334 w 5519334"/>
              <a:gd name="connsiteY57" fmla="*/ 84667 h 5178778"/>
              <a:gd name="connsiteX58" fmla="*/ 4503334 w 5519334"/>
              <a:gd name="connsiteY58" fmla="*/ 14111 h 5178778"/>
              <a:gd name="connsiteX59" fmla="*/ 4164668 w 5519334"/>
              <a:gd name="connsiteY59" fmla="*/ 0 h 5178778"/>
              <a:gd name="connsiteX60" fmla="*/ 3600223 w 5519334"/>
              <a:gd name="connsiteY60" fmla="*/ 28222 h 5178778"/>
              <a:gd name="connsiteX61" fmla="*/ 3473223 w 5519334"/>
              <a:gd name="connsiteY61" fmla="*/ 84667 h 5178778"/>
              <a:gd name="connsiteX62" fmla="*/ 3318001 w 5519334"/>
              <a:gd name="connsiteY62" fmla="*/ 324555 h 5178778"/>
              <a:gd name="connsiteX63" fmla="*/ 3318001 w 5519334"/>
              <a:gd name="connsiteY63" fmla="*/ 381000 h 5178778"/>
              <a:gd name="connsiteX64" fmla="*/ 3176890 w 5519334"/>
              <a:gd name="connsiteY64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092223 w 5519334"/>
              <a:gd name="connsiteY3" fmla="*/ 1270000 h 5178778"/>
              <a:gd name="connsiteX4" fmla="*/ 3064001 w 5519334"/>
              <a:gd name="connsiteY4" fmla="*/ 1453444 h 5178778"/>
              <a:gd name="connsiteX5" fmla="*/ 3035779 w 5519334"/>
              <a:gd name="connsiteY5" fmla="*/ 1905000 h 5178778"/>
              <a:gd name="connsiteX6" fmla="*/ 3021668 w 5519334"/>
              <a:gd name="connsiteY6" fmla="*/ 2032000 h 5178778"/>
              <a:gd name="connsiteX7" fmla="*/ 2951112 w 5519334"/>
              <a:gd name="connsiteY7" fmla="*/ 2130778 h 5178778"/>
              <a:gd name="connsiteX8" fmla="*/ 2852334 w 5519334"/>
              <a:gd name="connsiteY8" fmla="*/ 2229555 h 5178778"/>
              <a:gd name="connsiteX9" fmla="*/ 2654779 w 5519334"/>
              <a:gd name="connsiteY9" fmla="*/ 2398889 h 5178778"/>
              <a:gd name="connsiteX10" fmla="*/ 2330223 w 5519334"/>
              <a:gd name="connsiteY10" fmla="*/ 2667000 h 5178778"/>
              <a:gd name="connsiteX11" fmla="*/ 2118557 w 5519334"/>
              <a:gd name="connsiteY11" fmla="*/ 2751667 h 5178778"/>
              <a:gd name="connsiteX12" fmla="*/ 2033890 w 5519334"/>
              <a:gd name="connsiteY12" fmla="*/ 2765778 h 5178778"/>
              <a:gd name="connsiteX13" fmla="*/ 1723446 w 5519334"/>
              <a:gd name="connsiteY13" fmla="*/ 2808111 h 5178778"/>
              <a:gd name="connsiteX14" fmla="*/ 1286001 w 5519334"/>
              <a:gd name="connsiteY14" fmla="*/ 2850444 h 5178778"/>
              <a:gd name="connsiteX15" fmla="*/ 1017890 w 5519334"/>
              <a:gd name="connsiteY15" fmla="*/ 2892778 h 5178778"/>
              <a:gd name="connsiteX16" fmla="*/ 749779 w 5519334"/>
              <a:gd name="connsiteY16" fmla="*/ 2935111 h 5178778"/>
              <a:gd name="connsiteX17" fmla="*/ 707446 w 5519334"/>
              <a:gd name="connsiteY17" fmla="*/ 2963333 h 5178778"/>
              <a:gd name="connsiteX18" fmla="*/ 651001 w 5519334"/>
              <a:gd name="connsiteY18" fmla="*/ 3005667 h 5178778"/>
              <a:gd name="connsiteX19" fmla="*/ 453446 w 5519334"/>
              <a:gd name="connsiteY19" fmla="*/ 3118555 h 5178778"/>
              <a:gd name="connsiteX20" fmla="*/ 340557 w 5519334"/>
              <a:gd name="connsiteY20" fmla="*/ 3203222 h 5178778"/>
              <a:gd name="connsiteX21" fmla="*/ 171223 w 5519334"/>
              <a:gd name="connsiteY21" fmla="*/ 3414889 h 5178778"/>
              <a:gd name="connsiteX22" fmla="*/ 157112 w 5519334"/>
              <a:gd name="connsiteY22" fmla="*/ 3471333 h 5178778"/>
              <a:gd name="connsiteX23" fmla="*/ 16001 w 5519334"/>
              <a:gd name="connsiteY23" fmla="*/ 3781778 h 5178778"/>
              <a:gd name="connsiteX24" fmla="*/ 1890 w 5519334"/>
              <a:gd name="connsiteY24" fmla="*/ 3979333 h 5178778"/>
              <a:gd name="connsiteX25" fmla="*/ 72446 w 5519334"/>
              <a:gd name="connsiteY25" fmla="*/ 4275667 h 5178778"/>
              <a:gd name="connsiteX26" fmla="*/ 241779 w 5519334"/>
              <a:gd name="connsiteY26" fmla="*/ 4459111 h 5178778"/>
              <a:gd name="connsiteX27" fmla="*/ 524001 w 5519334"/>
              <a:gd name="connsiteY27" fmla="*/ 4670778 h 5178778"/>
              <a:gd name="connsiteX28" fmla="*/ 763890 w 5519334"/>
              <a:gd name="connsiteY28" fmla="*/ 4783667 h 5178778"/>
              <a:gd name="connsiteX29" fmla="*/ 1102557 w 5519334"/>
              <a:gd name="connsiteY29" fmla="*/ 4967111 h 5178778"/>
              <a:gd name="connsiteX30" fmla="*/ 1427112 w 5519334"/>
              <a:gd name="connsiteY30" fmla="*/ 5108222 h 5178778"/>
              <a:gd name="connsiteX31" fmla="*/ 1667001 w 5519334"/>
              <a:gd name="connsiteY31" fmla="*/ 5150555 h 5178778"/>
              <a:gd name="connsiteX32" fmla="*/ 2287890 w 5519334"/>
              <a:gd name="connsiteY32" fmla="*/ 5178778 h 5178778"/>
              <a:gd name="connsiteX33" fmla="*/ 3021668 w 5519334"/>
              <a:gd name="connsiteY33" fmla="*/ 5150555 h 5178778"/>
              <a:gd name="connsiteX34" fmla="*/ 3402668 w 5519334"/>
              <a:gd name="connsiteY34" fmla="*/ 4938889 h 5178778"/>
              <a:gd name="connsiteX35" fmla="*/ 3487334 w 5519334"/>
              <a:gd name="connsiteY35" fmla="*/ 4854222 h 5178778"/>
              <a:gd name="connsiteX36" fmla="*/ 3529668 w 5519334"/>
              <a:gd name="connsiteY36" fmla="*/ 4684889 h 5178778"/>
              <a:gd name="connsiteX37" fmla="*/ 3600223 w 5519334"/>
              <a:gd name="connsiteY37" fmla="*/ 4176889 h 5178778"/>
              <a:gd name="connsiteX38" fmla="*/ 3670779 w 5519334"/>
              <a:gd name="connsiteY38" fmla="*/ 4021667 h 5178778"/>
              <a:gd name="connsiteX39" fmla="*/ 3741334 w 5519334"/>
              <a:gd name="connsiteY39" fmla="*/ 3894667 h 5178778"/>
              <a:gd name="connsiteX40" fmla="*/ 4065890 w 5519334"/>
              <a:gd name="connsiteY40" fmla="*/ 3654778 h 5178778"/>
              <a:gd name="connsiteX41" fmla="*/ 4122334 w 5519334"/>
              <a:gd name="connsiteY41" fmla="*/ 3612444 h 5178778"/>
              <a:gd name="connsiteX42" fmla="*/ 4291668 w 5519334"/>
              <a:gd name="connsiteY42" fmla="*/ 3527778 h 5178778"/>
              <a:gd name="connsiteX43" fmla="*/ 4517446 w 5519334"/>
              <a:gd name="connsiteY43" fmla="*/ 3400778 h 5178778"/>
              <a:gd name="connsiteX44" fmla="*/ 4715001 w 5519334"/>
              <a:gd name="connsiteY44" fmla="*/ 3287889 h 5178778"/>
              <a:gd name="connsiteX45" fmla="*/ 4870223 w 5519334"/>
              <a:gd name="connsiteY45" fmla="*/ 3189111 h 5178778"/>
              <a:gd name="connsiteX46" fmla="*/ 5237112 w 5519334"/>
              <a:gd name="connsiteY46" fmla="*/ 3005667 h 5178778"/>
              <a:gd name="connsiteX47" fmla="*/ 5350001 w 5519334"/>
              <a:gd name="connsiteY47" fmla="*/ 2808111 h 5178778"/>
              <a:gd name="connsiteX48" fmla="*/ 5491112 w 5519334"/>
              <a:gd name="connsiteY48" fmla="*/ 2370667 h 5178778"/>
              <a:gd name="connsiteX49" fmla="*/ 5519334 w 5519334"/>
              <a:gd name="connsiteY49" fmla="*/ 2201333 h 5178778"/>
              <a:gd name="connsiteX50" fmla="*/ 5505223 w 5519334"/>
              <a:gd name="connsiteY50" fmla="*/ 1947333 h 5178778"/>
              <a:gd name="connsiteX51" fmla="*/ 5462890 w 5519334"/>
              <a:gd name="connsiteY51" fmla="*/ 1340555 h 5178778"/>
              <a:gd name="connsiteX52" fmla="*/ 5448779 w 5519334"/>
              <a:gd name="connsiteY52" fmla="*/ 620889 h 5178778"/>
              <a:gd name="connsiteX53" fmla="*/ 5420557 w 5519334"/>
              <a:gd name="connsiteY53" fmla="*/ 536222 h 5178778"/>
              <a:gd name="connsiteX54" fmla="*/ 5293557 w 5519334"/>
              <a:gd name="connsiteY54" fmla="*/ 197555 h 5178778"/>
              <a:gd name="connsiteX55" fmla="*/ 5251223 w 5519334"/>
              <a:gd name="connsiteY55" fmla="*/ 169333 h 5178778"/>
              <a:gd name="connsiteX56" fmla="*/ 5138334 w 5519334"/>
              <a:gd name="connsiteY56" fmla="*/ 84667 h 5178778"/>
              <a:gd name="connsiteX57" fmla="*/ 4503334 w 5519334"/>
              <a:gd name="connsiteY57" fmla="*/ 14111 h 5178778"/>
              <a:gd name="connsiteX58" fmla="*/ 4164668 w 5519334"/>
              <a:gd name="connsiteY58" fmla="*/ 0 h 5178778"/>
              <a:gd name="connsiteX59" fmla="*/ 3600223 w 5519334"/>
              <a:gd name="connsiteY59" fmla="*/ 28222 h 5178778"/>
              <a:gd name="connsiteX60" fmla="*/ 3473223 w 5519334"/>
              <a:gd name="connsiteY60" fmla="*/ 84667 h 5178778"/>
              <a:gd name="connsiteX61" fmla="*/ 3318001 w 5519334"/>
              <a:gd name="connsiteY61" fmla="*/ 324555 h 5178778"/>
              <a:gd name="connsiteX62" fmla="*/ 3318001 w 5519334"/>
              <a:gd name="connsiteY62" fmla="*/ 381000 h 5178778"/>
              <a:gd name="connsiteX63" fmla="*/ 3176890 w 5519334"/>
              <a:gd name="connsiteY63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092223 w 5519334"/>
              <a:gd name="connsiteY3" fmla="*/ 1270000 h 5178778"/>
              <a:gd name="connsiteX4" fmla="*/ 3064001 w 5519334"/>
              <a:gd name="connsiteY4" fmla="*/ 1453444 h 5178778"/>
              <a:gd name="connsiteX5" fmla="*/ 3035779 w 5519334"/>
              <a:gd name="connsiteY5" fmla="*/ 1905000 h 5178778"/>
              <a:gd name="connsiteX6" fmla="*/ 3021668 w 5519334"/>
              <a:gd name="connsiteY6" fmla="*/ 2032000 h 5178778"/>
              <a:gd name="connsiteX7" fmla="*/ 2951112 w 5519334"/>
              <a:gd name="connsiteY7" fmla="*/ 2130778 h 5178778"/>
              <a:gd name="connsiteX8" fmla="*/ 2852334 w 5519334"/>
              <a:gd name="connsiteY8" fmla="*/ 2229555 h 5178778"/>
              <a:gd name="connsiteX9" fmla="*/ 2654779 w 5519334"/>
              <a:gd name="connsiteY9" fmla="*/ 2398889 h 5178778"/>
              <a:gd name="connsiteX10" fmla="*/ 2330223 w 5519334"/>
              <a:gd name="connsiteY10" fmla="*/ 2667000 h 5178778"/>
              <a:gd name="connsiteX11" fmla="*/ 2118557 w 5519334"/>
              <a:gd name="connsiteY11" fmla="*/ 2751667 h 5178778"/>
              <a:gd name="connsiteX12" fmla="*/ 2033890 w 5519334"/>
              <a:gd name="connsiteY12" fmla="*/ 2765778 h 5178778"/>
              <a:gd name="connsiteX13" fmla="*/ 1723446 w 5519334"/>
              <a:gd name="connsiteY13" fmla="*/ 2808111 h 5178778"/>
              <a:gd name="connsiteX14" fmla="*/ 1286001 w 5519334"/>
              <a:gd name="connsiteY14" fmla="*/ 2850444 h 5178778"/>
              <a:gd name="connsiteX15" fmla="*/ 1017890 w 5519334"/>
              <a:gd name="connsiteY15" fmla="*/ 2892778 h 5178778"/>
              <a:gd name="connsiteX16" fmla="*/ 749779 w 5519334"/>
              <a:gd name="connsiteY16" fmla="*/ 2935111 h 5178778"/>
              <a:gd name="connsiteX17" fmla="*/ 651001 w 5519334"/>
              <a:gd name="connsiteY17" fmla="*/ 3005667 h 5178778"/>
              <a:gd name="connsiteX18" fmla="*/ 453446 w 5519334"/>
              <a:gd name="connsiteY18" fmla="*/ 3118555 h 5178778"/>
              <a:gd name="connsiteX19" fmla="*/ 340557 w 5519334"/>
              <a:gd name="connsiteY19" fmla="*/ 3203222 h 5178778"/>
              <a:gd name="connsiteX20" fmla="*/ 171223 w 5519334"/>
              <a:gd name="connsiteY20" fmla="*/ 3414889 h 5178778"/>
              <a:gd name="connsiteX21" fmla="*/ 157112 w 5519334"/>
              <a:gd name="connsiteY21" fmla="*/ 3471333 h 5178778"/>
              <a:gd name="connsiteX22" fmla="*/ 16001 w 5519334"/>
              <a:gd name="connsiteY22" fmla="*/ 3781778 h 5178778"/>
              <a:gd name="connsiteX23" fmla="*/ 1890 w 5519334"/>
              <a:gd name="connsiteY23" fmla="*/ 3979333 h 5178778"/>
              <a:gd name="connsiteX24" fmla="*/ 72446 w 5519334"/>
              <a:gd name="connsiteY24" fmla="*/ 4275667 h 5178778"/>
              <a:gd name="connsiteX25" fmla="*/ 241779 w 5519334"/>
              <a:gd name="connsiteY25" fmla="*/ 4459111 h 5178778"/>
              <a:gd name="connsiteX26" fmla="*/ 524001 w 5519334"/>
              <a:gd name="connsiteY26" fmla="*/ 4670778 h 5178778"/>
              <a:gd name="connsiteX27" fmla="*/ 763890 w 5519334"/>
              <a:gd name="connsiteY27" fmla="*/ 4783667 h 5178778"/>
              <a:gd name="connsiteX28" fmla="*/ 1102557 w 5519334"/>
              <a:gd name="connsiteY28" fmla="*/ 4967111 h 5178778"/>
              <a:gd name="connsiteX29" fmla="*/ 1427112 w 5519334"/>
              <a:gd name="connsiteY29" fmla="*/ 5108222 h 5178778"/>
              <a:gd name="connsiteX30" fmla="*/ 1667001 w 5519334"/>
              <a:gd name="connsiteY30" fmla="*/ 5150555 h 5178778"/>
              <a:gd name="connsiteX31" fmla="*/ 2287890 w 5519334"/>
              <a:gd name="connsiteY31" fmla="*/ 5178778 h 5178778"/>
              <a:gd name="connsiteX32" fmla="*/ 3021668 w 5519334"/>
              <a:gd name="connsiteY32" fmla="*/ 5150555 h 5178778"/>
              <a:gd name="connsiteX33" fmla="*/ 3402668 w 5519334"/>
              <a:gd name="connsiteY33" fmla="*/ 4938889 h 5178778"/>
              <a:gd name="connsiteX34" fmla="*/ 3487334 w 5519334"/>
              <a:gd name="connsiteY34" fmla="*/ 4854222 h 5178778"/>
              <a:gd name="connsiteX35" fmla="*/ 3529668 w 5519334"/>
              <a:gd name="connsiteY35" fmla="*/ 4684889 h 5178778"/>
              <a:gd name="connsiteX36" fmla="*/ 3600223 w 5519334"/>
              <a:gd name="connsiteY36" fmla="*/ 4176889 h 5178778"/>
              <a:gd name="connsiteX37" fmla="*/ 3670779 w 5519334"/>
              <a:gd name="connsiteY37" fmla="*/ 4021667 h 5178778"/>
              <a:gd name="connsiteX38" fmla="*/ 3741334 w 5519334"/>
              <a:gd name="connsiteY38" fmla="*/ 3894667 h 5178778"/>
              <a:gd name="connsiteX39" fmla="*/ 4065890 w 5519334"/>
              <a:gd name="connsiteY39" fmla="*/ 3654778 h 5178778"/>
              <a:gd name="connsiteX40" fmla="*/ 4122334 w 5519334"/>
              <a:gd name="connsiteY40" fmla="*/ 3612444 h 5178778"/>
              <a:gd name="connsiteX41" fmla="*/ 4291668 w 5519334"/>
              <a:gd name="connsiteY41" fmla="*/ 3527778 h 5178778"/>
              <a:gd name="connsiteX42" fmla="*/ 4517446 w 5519334"/>
              <a:gd name="connsiteY42" fmla="*/ 3400778 h 5178778"/>
              <a:gd name="connsiteX43" fmla="*/ 4715001 w 5519334"/>
              <a:gd name="connsiteY43" fmla="*/ 3287889 h 5178778"/>
              <a:gd name="connsiteX44" fmla="*/ 4870223 w 5519334"/>
              <a:gd name="connsiteY44" fmla="*/ 3189111 h 5178778"/>
              <a:gd name="connsiteX45" fmla="*/ 5237112 w 5519334"/>
              <a:gd name="connsiteY45" fmla="*/ 3005667 h 5178778"/>
              <a:gd name="connsiteX46" fmla="*/ 5350001 w 5519334"/>
              <a:gd name="connsiteY46" fmla="*/ 2808111 h 5178778"/>
              <a:gd name="connsiteX47" fmla="*/ 5491112 w 5519334"/>
              <a:gd name="connsiteY47" fmla="*/ 2370667 h 5178778"/>
              <a:gd name="connsiteX48" fmla="*/ 5519334 w 5519334"/>
              <a:gd name="connsiteY48" fmla="*/ 2201333 h 5178778"/>
              <a:gd name="connsiteX49" fmla="*/ 5505223 w 5519334"/>
              <a:gd name="connsiteY49" fmla="*/ 1947333 h 5178778"/>
              <a:gd name="connsiteX50" fmla="*/ 5462890 w 5519334"/>
              <a:gd name="connsiteY50" fmla="*/ 1340555 h 5178778"/>
              <a:gd name="connsiteX51" fmla="*/ 5448779 w 5519334"/>
              <a:gd name="connsiteY51" fmla="*/ 620889 h 5178778"/>
              <a:gd name="connsiteX52" fmla="*/ 5420557 w 5519334"/>
              <a:gd name="connsiteY52" fmla="*/ 536222 h 5178778"/>
              <a:gd name="connsiteX53" fmla="*/ 5293557 w 5519334"/>
              <a:gd name="connsiteY53" fmla="*/ 197555 h 5178778"/>
              <a:gd name="connsiteX54" fmla="*/ 5251223 w 5519334"/>
              <a:gd name="connsiteY54" fmla="*/ 169333 h 5178778"/>
              <a:gd name="connsiteX55" fmla="*/ 5138334 w 5519334"/>
              <a:gd name="connsiteY55" fmla="*/ 84667 h 5178778"/>
              <a:gd name="connsiteX56" fmla="*/ 4503334 w 5519334"/>
              <a:gd name="connsiteY56" fmla="*/ 14111 h 5178778"/>
              <a:gd name="connsiteX57" fmla="*/ 4164668 w 5519334"/>
              <a:gd name="connsiteY57" fmla="*/ 0 h 5178778"/>
              <a:gd name="connsiteX58" fmla="*/ 3600223 w 5519334"/>
              <a:gd name="connsiteY58" fmla="*/ 28222 h 5178778"/>
              <a:gd name="connsiteX59" fmla="*/ 3473223 w 5519334"/>
              <a:gd name="connsiteY59" fmla="*/ 84667 h 5178778"/>
              <a:gd name="connsiteX60" fmla="*/ 3318001 w 5519334"/>
              <a:gd name="connsiteY60" fmla="*/ 324555 h 5178778"/>
              <a:gd name="connsiteX61" fmla="*/ 3318001 w 5519334"/>
              <a:gd name="connsiteY61" fmla="*/ 381000 h 5178778"/>
              <a:gd name="connsiteX62" fmla="*/ 3176890 w 5519334"/>
              <a:gd name="connsiteY62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064001 w 5519334"/>
              <a:gd name="connsiteY3" fmla="*/ 1453444 h 5178778"/>
              <a:gd name="connsiteX4" fmla="*/ 3035779 w 5519334"/>
              <a:gd name="connsiteY4" fmla="*/ 1905000 h 5178778"/>
              <a:gd name="connsiteX5" fmla="*/ 3021668 w 5519334"/>
              <a:gd name="connsiteY5" fmla="*/ 2032000 h 5178778"/>
              <a:gd name="connsiteX6" fmla="*/ 2951112 w 5519334"/>
              <a:gd name="connsiteY6" fmla="*/ 2130778 h 5178778"/>
              <a:gd name="connsiteX7" fmla="*/ 2852334 w 5519334"/>
              <a:gd name="connsiteY7" fmla="*/ 2229555 h 5178778"/>
              <a:gd name="connsiteX8" fmla="*/ 2654779 w 5519334"/>
              <a:gd name="connsiteY8" fmla="*/ 2398889 h 5178778"/>
              <a:gd name="connsiteX9" fmla="*/ 2330223 w 5519334"/>
              <a:gd name="connsiteY9" fmla="*/ 2667000 h 5178778"/>
              <a:gd name="connsiteX10" fmla="*/ 2118557 w 5519334"/>
              <a:gd name="connsiteY10" fmla="*/ 2751667 h 5178778"/>
              <a:gd name="connsiteX11" fmla="*/ 2033890 w 5519334"/>
              <a:gd name="connsiteY11" fmla="*/ 2765778 h 5178778"/>
              <a:gd name="connsiteX12" fmla="*/ 1723446 w 5519334"/>
              <a:gd name="connsiteY12" fmla="*/ 2808111 h 5178778"/>
              <a:gd name="connsiteX13" fmla="*/ 1286001 w 5519334"/>
              <a:gd name="connsiteY13" fmla="*/ 2850444 h 5178778"/>
              <a:gd name="connsiteX14" fmla="*/ 1017890 w 5519334"/>
              <a:gd name="connsiteY14" fmla="*/ 2892778 h 5178778"/>
              <a:gd name="connsiteX15" fmla="*/ 749779 w 5519334"/>
              <a:gd name="connsiteY15" fmla="*/ 2935111 h 5178778"/>
              <a:gd name="connsiteX16" fmla="*/ 651001 w 5519334"/>
              <a:gd name="connsiteY16" fmla="*/ 3005667 h 5178778"/>
              <a:gd name="connsiteX17" fmla="*/ 453446 w 5519334"/>
              <a:gd name="connsiteY17" fmla="*/ 3118555 h 5178778"/>
              <a:gd name="connsiteX18" fmla="*/ 340557 w 5519334"/>
              <a:gd name="connsiteY18" fmla="*/ 3203222 h 5178778"/>
              <a:gd name="connsiteX19" fmla="*/ 171223 w 5519334"/>
              <a:gd name="connsiteY19" fmla="*/ 3414889 h 5178778"/>
              <a:gd name="connsiteX20" fmla="*/ 157112 w 5519334"/>
              <a:gd name="connsiteY20" fmla="*/ 3471333 h 5178778"/>
              <a:gd name="connsiteX21" fmla="*/ 16001 w 5519334"/>
              <a:gd name="connsiteY21" fmla="*/ 3781778 h 5178778"/>
              <a:gd name="connsiteX22" fmla="*/ 1890 w 5519334"/>
              <a:gd name="connsiteY22" fmla="*/ 3979333 h 5178778"/>
              <a:gd name="connsiteX23" fmla="*/ 72446 w 5519334"/>
              <a:gd name="connsiteY23" fmla="*/ 4275667 h 5178778"/>
              <a:gd name="connsiteX24" fmla="*/ 241779 w 5519334"/>
              <a:gd name="connsiteY24" fmla="*/ 4459111 h 5178778"/>
              <a:gd name="connsiteX25" fmla="*/ 524001 w 5519334"/>
              <a:gd name="connsiteY25" fmla="*/ 4670778 h 5178778"/>
              <a:gd name="connsiteX26" fmla="*/ 763890 w 5519334"/>
              <a:gd name="connsiteY26" fmla="*/ 4783667 h 5178778"/>
              <a:gd name="connsiteX27" fmla="*/ 1102557 w 5519334"/>
              <a:gd name="connsiteY27" fmla="*/ 4967111 h 5178778"/>
              <a:gd name="connsiteX28" fmla="*/ 1427112 w 5519334"/>
              <a:gd name="connsiteY28" fmla="*/ 5108222 h 5178778"/>
              <a:gd name="connsiteX29" fmla="*/ 1667001 w 5519334"/>
              <a:gd name="connsiteY29" fmla="*/ 5150555 h 5178778"/>
              <a:gd name="connsiteX30" fmla="*/ 2287890 w 5519334"/>
              <a:gd name="connsiteY30" fmla="*/ 5178778 h 5178778"/>
              <a:gd name="connsiteX31" fmla="*/ 3021668 w 5519334"/>
              <a:gd name="connsiteY31" fmla="*/ 5150555 h 5178778"/>
              <a:gd name="connsiteX32" fmla="*/ 3402668 w 5519334"/>
              <a:gd name="connsiteY32" fmla="*/ 4938889 h 5178778"/>
              <a:gd name="connsiteX33" fmla="*/ 3487334 w 5519334"/>
              <a:gd name="connsiteY33" fmla="*/ 4854222 h 5178778"/>
              <a:gd name="connsiteX34" fmla="*/ 3529668 w 5519334"/>
              <a:gd name="connsiteY34" fmla="*/ 4684889 h 5178778"/>
              <a:gd name="connsiteX35" fmla="*/ 3600223 w 5519334"/>
              <a:gd name="connsiteY35" fmla="*/ 4176889 h 5178778"/>
              <a:gd name="connsiteX36" fmla="*/ 3670779 w 5519334"/>
              <a:gd name="connsiteY36" fmla="*/ 4021667 h 5178778"/>
              <a:gd name="connsiteX37" fmla="*/ 3741334 w 5519334"/>
              <a:gd name="connsiteY37" fmla="*/ 3894667 h 5178778"/>
              <a:gd name="connsiteX38" fmla="*/ 4065890 w 5519334"/>
              <a:gd name="connsiteY38" fmla="*/ 3654778 h 5178778"/>
              <a:gd name="connsiteX39" fmla="*/ 4122334 w 5519334"/>
              <a:gd name="connsiteY39" fmla="*/ 3612444 h 5178778"/>
              <a:gd name="connsiteX40" fmla="*/ 4291668 w 5519334"/>
              <a:gd name="connsiteY40" fmla="*/ 3527778 h 5178778"/>
              <a:gd name="connsiteX41" fmla="*/ 4517446 w 5519334"/>
              <a:gd name="connsiteY41" fmla="*/ 3400778 h 5178778"/>
              <a:gd name="connsiteX42" fmla="*/ 4715001 w 5519334"/>
              <a:gd name="connsiteY42" fmla="*/ 3287889 h 5178778"/>
              <a:gd name="connsiteX43" fmla="*/ 4870223 w 5519334"/>
              <a:gd name="connsiteY43" fmla="*/ 3189111 h 5178778"/>
              <a:gd name="connsiteX44" fmla="*/ 5237112 w 5519334"/>
              <a:gd name="connsiteY44" fmla="*/ 3005667 h 5178778"/>
              <a:gd name="connsiteX45" fmla="*/ 5350001 w 5519334"/>
              <a:gd name="connsiteY45" fmla="*/ 2808111 h 5178778"/>
              <a:gd name="connsiteX46" fmla="*/ 5491112 w 5519334"/>
              <a:gd name="connsiteY46" fmla="*/ 2370667 h 5178778"/>
              <a:gd name="connsiteX47" fmla="*/ 5519334 w 5519334"/>
              <a:gd name="connsiteY47" fmla="*/ 2201333 h 5178778"/>
              <a:gd name="connsiteX48" fmla="*/ 5505223 w 5519334"/>
              <a:gd name="connsiteY48" fmla="*/ 1947333 h 5178778"/>
              <a:gd name="connsiteX49" fmla="*/ 5462890 w 5519334"/>
              <a:gd name="connsiteY49" fmla="*/ 1340555 h 5178778"/>
              <a:gd name="connsiteX50" fmla="*/ 5448779 w 5519334"/>
              <a:gd name="connsiteY50" fmla="*/ 620889 h 5178778"/>
              <a:gd name="connsiteX51" fmla="*/ 5420557 w 5519334"/>
              <a:gd name="connsiteY51" fmla="*/ 536222 h 5178778"/>
              <a:gd name="connsiteX52" fmla="*/ 5293557 w 5519334"/>
              <a:gd name="connsiteY52" fmla="*/ 197555 h 5178778"/>
              <a:gd name="connsiteX53" fmla="*/ 5251223 w 5519334"/>
              <a:gd name="connsiteY53" fmla="*/ 169333 h 5178778"/>
              <a:gd name="connsiteX54" fmla="*/ 5138334 w 5519334"/>
              <a:gd name="connsiteY54" fmla="*/ 84667 h 5178778"/>
              <a:gd name="connsiteX55" fmla="*/ 4503334 w 5519334"/>
              <a:gd name="connsiteY55" fmla="*/ 14111 h 5178778"/>
              <a:gd name="connsiteX56" fmla="*/ 4164668 w 5519334"/>
              <a:gd name="connsiteY56" fmla="*/ 0 h 5178778"/>
              <a:gd name="connsiteX57" fmla="*/ 3600223 w 5519334"/>
              <a:gd name="connsiteY57" fmla="*/ 28222 h 5178778"/>
              <a:gd name="connsiteX58" fmla="*/ 3473223 w 5519334"/>
              <a:gd name="connsiteY58" fmla="*/ 84667 h 5178778"/>
              <a:gd name="connsiteX59" fmla="*/ 3318001 w 5519334"/>
              <a:gd name="connsiteY59" fmla="*/ 324555 h 5178778"/>
              <a:gd name="connsiteX60" fmla="*/ 3318001 w 5519334"/>
              <a:gd name="connsiteY60" fmla="*/ 381000 h 5178778"/>
              <a:gd name="connsiteX61" fmla="*/ 3176890 w 5519334"/>
              <a:gd name="connsiteY61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064001 w 5519334"/>
              <a:gd name="connsiteY3" fmla="*/ 1453444 h 5178778"/>
              <a:gd name="connsiteX4" fmla="*/ 3049890 w 5519334"/>
              <a:gd name="connsiteY4" fmla="*/ 1792111 h 5178778"/>
              <a:gd name="connsiteX5" fmla="*/ 3021668 w 5519334"/>
              <a:gd name="connsiteY5" fmla="*/ 2032000 h 5178778"/>
              <a:gd name="connsiteX6" fmla="*/ 2951112 w 5519334"/>
              <a:gd name="connsiteY6" fmla="*/ 2130778 h 5178778"/>
              <a:gd name="connsiteX7" fmla="*/ 2852334 w 5519334"/>
              <a:gd name="connsiteY7" fmla="*/ 2229555 h 5178778"/>
              <a:gd name="connsiteX8" fmla="*/ 2654779 w 5519334"/>
              <a:gd name="connsiteY8" fmla="*/ 2398889 h 5178778"/>
              <a:gd name="connsiteX9" fmla="*/ 2330223 w 5519334"/>
              <a:gd name="connsiteY9" fmla="*/ 2667000 h 5178778"/>
              <a:gd name="connsiteX10" fmla="*/ 2118557 w 5519334"/>
              <a:gd name="connsiteY10" fmla="*/ 2751667 h 5178778"/>
              <a:gd name="connsiteX11" fmla="*/ 2033890 w 5519334"/>
              <a:gd name="connsiteY11" fmla="*/ 2765778 h 5178778"/>
              <a:gd name="connsiteX12" fmla="*/ 1723446 w 5519334"/>
              <a:gd name="connsiteY12" fmla="*/ 2808111 h 5178778"/>
              <a:gd name="connsiteX13" fmla="*/ 1286001 w 5519334"/>
              <a:gd name="connsiteY13" fmla="*/ 2850444 h 5178778"/>
              <a:gd name="connsiteX14" fmla="*/ 1017890 w 5519334"/>
              <a:gd name="connsiteY14" fmla="*/ 2892778 h 5178778"/>
              <a:gd name="connsiteX15" fmla="*/ 749779 w 5519334"/>
              <a:gd name="connsiteY15" fmla="*/ 2935111 h 5178778"/>
              <a:gd name="connsiteX16" fmla="*/ 651001 w 5519334"/>
              <a:gd name="connsiteY16" fmla="*/ 3005667 h 5178778"/>
              <a:gd name="connsiteX17" fmla="*/ 453446 w 5519334"/>
              <a:gd name="connsiteY17" fmla="*/ 3118555 h 5178778"/>
              <a:gd name="connsiteX18" fmla="*/ 340557 w 5519334"/>
              <a:gd name="connsiteY18" fmla="*/ 3203222 h 5178778"/>
              <a:gd name="connsiteX19" fmla="*/ 171223 w 5519334"/>
              <a:gd name="connsiteY19" fmla="*/ 3414889 h 5178778"/>
              <a:gd name="connsiteX20" fmla="*/ 157112 w 5519334"/>
              <a:gd name="connsiteY20" fmla="*/ 3471333 h 5178778"/>
              <a:gd name="connsiteX21" fmla="*/ 16001 w 5519334"/>
              <a:gd name="connsiteY21" fmla="*/ 3781778 h 5178778"/>
              <a:gd name="connsiteX22" fmla="*/ 1890 w 5519334"/>
              <a:gd name="connsiteY22" fmla="*/ 3979333 h 5178778"/>
              <a:gd name="connsiteX23" fmla="*/ 72446 w 5519334"/>
              <a:gd name="connsiteY23" fmla="*/ 4275667 h 5178778"/>
              <a:gd name="connsiteX24" fmla="*/ 241779 w 5519334"/>
              <a:gd name="connsiteY24" fmla="*/ 4459111 h 5178778"/>
              <a:gd name="connsiteX25" fmla="*/ 524001 w 5519334"/>
              <a:gd name="connsiteY25" fmla="*/ 4670778 h 5178778"/>
              <a:gd name="connsiteX26" fmla="*/ 763890 w 5519334"/>
              <a:gd name="connsiteY26" fmla="*/ 4783667 h 5178778"/>
              <a:gd name="connsiteX27" fmla="*/ 1102557 w 5519334"/>
              <a:gd name="connsiteY27" fmla="*/ 4967111 h 5178778"/>
              <a:gd name="connsiteX28" fmla="*/ 1427112 w 5519334"/>
              <a:gd name="connsiteY28" fmla="*/ 5108222 h 5178778"/>
              <a:gd name="connsiteX29" fmla="*/ 1667001 w 5519334"/>
              <a:gd name="connsiteY29" fmla="*/ 5150555 h 5178778"/>
              <a:gd name="connsiteX30" fmla="*/ 2287890 w 5519334"/>
              <a:gd name="connsiteY30" fmla="*/ 5178778 h 5178778"/>
              <a:gd name="connsiteX31" fmla="*/ 3021668 w 5519334"/>
              <a:gd name="connsiteY31" fmla="*/ 5150555 h 5178778"/>
              <a:gd name="connsiteX32" fmla="*/ 3402668 w 5519334"/>
              <a:gd name="connsiteY32" fmla="*/ 4938889 h 5178778"/>
              <a:gd name="connsiteX33" fmla="*/ 3487334 w 5519334"/>
              <a:gd name="connsiteY33" fmla="*/ 4854222 h 5178778"/>
              <a:gd name="connsiteX34" fmla="*/ 3529668 w 5519334"/>
              <a:gd name="connsiteY34" fmla="*/ 4684889 h 5178778"/>
              <a:gd name="connsiteX35" fmla="*/ 3600223 w 5519334"/>
              <a:gd name="connsiteY35" fmla="*/ 4176889 h 5178778"/>
              <a:gd name="connsiteX36" fmla="*/ 3670779 w 5519334"/>
              <a:gd name="connsiteY36" fmla="*/ 4021667 h 5178778"/>
              <a:gd name="connsiteX37" fmla="*/ 3741334 w 5519334"/>
              <a:gd name="connsiteY37" fmla="*/ 3894667 h 5178778"/>
              <a:gd name="connsiteX38" fmla="*/ 4065890 w 5519334"/>
              <a:gd name="connsiteY38" fmla="*/ 3654778 h 5178778"/>
              <a:gd name="connsiteX39" fmla="*/ 4122334 w 5519334"/>
              <a:gd name="connsiteY39" fmla="*/ 3612444 h 5178778"/>
              <a:gd name="connsiteX40" fmla="*/ 4291668 w 5519334"/>
              <a:gd name="connsiteY40" fmla="*/ 3527778 h 5178778"/>
              <a:gd name="connsiteX41" fmla="*/ 4517446 w 5519334"/>
              <a:gd name="connsiteY41" fmla="*/ 3400778 h 5178778"/>
              <a:gd name="connsiteX42" fmla="*/ 4715001 w 5519334"/>
              <a:gd name="connsiteY42" fmla="*/ 3287889 h 5178778"/>
              <a:gd name="connsiteX43" fmla="*/ 4870223 w 5519334"/>
              <a:gd name="connsiteY43" fmla="*/ 3189111 h 5178778"/>
              <a:gd name="connsiteX44" fmla="*/ 5237112 w 5519334"/>
              <a:gd name="connsiteY44" fmla="*/ 3005667 h 5178778"/>
              <a:gd name="connsiteX45" fmla="*/ 5350001 w 5519334"/>
              <a:gd name="connsiteY45" fmla="*/ 2808111 h 5178778"/>
              <a:gd name="connsiteX46" fmla="*/ 5491112 w 5519334"/>
              <a:gd name="connsiteY46" fmla="*/ 2370667 h 5178778"/>
              <a:gd name="connsiteX47" fmla="*/ 5519334 w 5519334"/>
              <a:gd name="connsiteY47" fmla="*/ 2201333 h 5178778"/>
              <a:gd name="connsiteX48" fmla="*/ 5505223 w 5519334"/>
              <a:gd name="connsiteY48" fmla="*/ 1947333 h 5178778"/>
              <a:gd name="connsiteX49" fmla="*/ 5462890 w 5519334"/>
              <a:gd name="connsiteY49" fmla="*/ 1340555 h 5178778"/>
              <a:gd name="connsiteX50" fmla="*/ 5448779 w 5519334"/>
              <a:gd name="connsiteY50" fmla="*/ 620889 h 5178778"/>
              <a:gd name="connsiteX51" fmla="*/ 5420557 w 5519334"/>
              <a:gd name="connsiteY51" fmla="*/ 536222 h 5178778"/>
              <a:gd name="connsiteX52" fmla="*/ 5293557 w 5519334"/>
              <a:gd name="connsiteY52" fmla="*/ 197555 h 5178778"/>
              <a:gd name="connsiteX53" fmla="*/ 5251223 w 5519334"/>
              <a:gd name="connsiteY53" fmla="*/ 169333 h 5178778"/>
              <a:gd name="connsiteX54" fmla="*/ 5138334 w 5519334"/>
              <a:gd name="connsiteY54" fmla="*/ 84667 h 5178778"/>
              <a:gd name="connsiteX55" fmla="*/ 4503334 w 5519334"/>
              <a:gd name="connsiteY55" fmla="*/ 14111 h 5178778"/>
              <a:gd name="connsiteX56" fmla="*/ 4164668 w 5519334"/>
              <a:gd name="connsiteY56" fmla="*/ 0 h 5178778"/>
              <a:gd name="connsiteX57" fmla="*/ 3600223 w 5519334"/>
              <a:gd name="connsiteY57" fmla="*/ 28222 h 5178778"/>
              <a:gd name="connsiteX58" fmla="*/ 3473223 w 5519334"/>
              <a:gd name="connsiteY58" fmla="*/ 84667 h 5178778"/>
              <a:gd name="connsiteX59" fmla="*/ 3318001 w 5519334"/>
              <a:gd name="connsiteY59" fmla="*/ 324555 h 5178778"/>
              <a:gd name="connsiteX60" fmla="*/ 3318001 w 5519334"/>
              <a:gd name="connsiteY60" fmla="*/ 381000 h 5178778"/>
              <a:gd name="connsiteX61" fmla="*/ 3176890 w 5519334"/>
              <a:gd name="connsiteY61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20446 w 5519334"/>
              <a:gd name="connsiteY3" fmla="*/ 1453444 h 5178778"/>
              <a:gd name="connsiteX4" fmla="*/ 3049890 w 5519334"/>
              <a:gd name="connsiteY4" fmla="*/ 1792111 h 5178778"/>
              <a:gd name="connsiteX5" fmla="*/ 3021668 w 5519334"/>
              <a:gd name="connsiteY5" fmla="*/ 2032000 h 5178778"/>
              <a:gd name="connsiteX6" fmla="*/ 2951112 w 5519334"/>
              <a:gd name="connsiteY6" fmla="*/ 2130778 h 5178778"/>
              <a:gd name="connsiteX7" fmla="*/ 2852334 w 5519334"/>
              <a:gd name="connsiteY7" fmla="*/ 2229555 h 5178778"/>
              <a:gd name="connsiteX8" fmla="*/ 2654779 w 5519334"/>
              <a:gd name="connsiteY8" fmla="*/ 2398889 h 5178778"/>
              <a:gd name="connsiteX9" fmla="*/ 2330223 w 5519334"/>
              <a:gd name="connsiteY9" fmla="*/ 2667000 h 5178778"/>
              <a:gd name="connsiteX10" fmla="*/ 2118557 w 5519334"/>
              <a:gd name="connsiteY10" fmla="*/ 2751667 h 5178778"/>
              <a:gd name="connsiteX11" fmla="*/ 2033890 w 5519334"/>
              <a:gd name="connsiteY11" fmla="*/ 2765778 h 5178778"/>
              <a:gd name="connsiteX12" fmla="*/ 1723446 w 5519334"/>
              <a:gd name="connsiteY12" fmla="*/ 2808111 h 5178778"/>
              <a:gd name="connsiteX13" fmla="*/ 1286001 w 5519334"/>
              <a:gd name="connsiteY13" fmla="*/ 2850444 h 5178778"/>
              <a:gd name="connsiteX14" fmla="*/ 1017890 w 5519334"/>
              <a:gd name="connsiteY14" fmla="*/ 2892778 h 5178778"/>
              <a:gd name="connsiteX15" fmla="*/ 749779 w 5519334"/>
              <a:gd name="connsiteY15" fmla="*/ 2935111 h 5178778"/>
              <a:gd name="connsiteX16" fmla="*/ 651001 w 5519334"/>
              <a:gd name="connsiteY16" fmla="*/ 3005667 h 5178778"/>
              <a:gd name="connsiteX17" fmla="*/ 453446 w 5519334"/>
              <a:gd name="connsiteY17" fmla="*/ 3118555 h 5178778"/>
              <a:gd name="connsiteX18" fmla="*/ 340557 w 5519334"/>
              <a:gd name="connsiteY18" fmla="*/ 3203222 h 5178778"/>
              <a:gd name="connsiteX19" fmla="*/ 171223 w 5519334"/>
              <a:gd name="connsiteY19" fmla="*/ 3414889 h 5178778"/>
              <a:gd name="connsiteX20" fmla="*/ 157112 w 5519334"/>
              <a:gd name="connsiteY20" fmla="*/ 3471333 h 5178778"/>
              <a:gd name="connsiteX21" fmla="*/ 16001 w 5519334"/>
              <a:gd name="connsiteY21" fmla="*/ 3781778 h 5178778"/>
              <a:gd name="connsiteX22" fmla="*/ 1890 w 5519334"/>
              <a:gd name="connsiteY22" fmla="*/ 3979333 h 5178778"/>
              <a:gd name="connsiteX23" fmla="*/ 72446 w 5519334"/>
              <a:gd name="connsiteY23" fmla="*/ 4275667 h 5178778"/>
              <a:gd name="connsiteX24" fmla="*/ 241779 w 5519334"/>
              <a:gd name="connsiteY24" fmla="*/ 4459111 h 5178778"/>
              <a:gd name="connsiteX25" fmla="*/ 524001 w 5519334"/>
              <a:gd name="connsiteY25" fmla="*/ 4670778 h 5178778"/>
              <a:gd name="connsiteX26" fmla="*/ 763890 w 5519334"/>
              <a:gd name="connsiteY26" fmla="*/ 4783667 h 5178778"/>
              <a:gd name="connsiteX27" fmla="*/ 1102557 w 5519334"/>
              <a:gd name="connsiteY27" fmla="*/ 4967111 h 5178778"/>
              <a:gd name="connsiteX28" fmla="*/ 1427112 w 5519334"/>
              <a:gd name="connsiteY28" fmla="*/ 5108222 h 5178778"/>
              <a:gd name="connsiteX29" fmla="*/ 1667001 w 5519334"/>
              <a:gd name="connsiteY29" fmla="*/ 5150555 h 5178778"/>
              <a:gd name="connsiteX30" fmla="*/ 2287890 w 5519334"/>
              <a:gd name="connsiteY30" fmla="*/ 5178778 h 5178778"/>
              <a:gd name="connsiteX31" fmla="*/ 3021668 w 5519334"/>
              <a:gd name="connsiteY31" fmla="*/ 5150555 h 5178778"/>
              <a:gd name="connsiteX32" fmla="*/ 3402668 w 5519334"/>
              <a:gd name="connsiteY32" fmla="*/ 4938889 h 5178778"/>
              <a:gd name="connsiteX33" fmla="*/ 3487334 w 5519334"/>
              <a:gd name="connsiteY33" fmla="*/ 4854222 h 5178778"/>
              <a:gd name="connsiteX34" fmla="*/ 3529668 w 5519334"/>
              <a:gd name="connsiteY34" fmla="*/ 4684889 h 5178778"/>
              <a:gd name="connsiteX35" fmla="*/ 3600223 w 5519334"/>
              <a:gd name="connsiteY35" fmla="*/ 4176889 h 5178778"/>
              <a:gd name="connsiteX36" fmla="*/ 3670779 w 5519334"/>
              <a:gd name="connsiteY36" fmla="*/ 4021667 h 5178778"/>
              <a:gd name="connsiteX37" fmla="*/ 3741334 w 5519334"/>
              <a:gd name="connsiteY37" fmla="*/ 3894667 h 5178778"/>
              <a:gd name="connsiteX38" fmla="*/ 4065890 w 5519334"/>
              <a:gd name="connsiteY38" fmla="*/ 3654778 h 5178778"/>
              <a:gd name="connsiteX39" fmla="*/ 4122334 w 5519334"/>
              <a:gd name="connsiteY39" fmla="*/ 3612444 h 5178778"/>
              <a:gd name="connsiteX40" fmla="*/ 4291668 w 5519334"/>
              <a:gd name="connsiteY40" fmla="*/ 3527778 h 5178778"/>
              <a:gd name="connsiteX41" fmla="*/ 4517446 w 5519334"/>
              <a:gd name="connsiteY41" fmla="*/ 3400778 h 5178778"/>
              <a:gd name="connsiteX42" fmla="*/ 4715001 w 5519334"/>
              <a:gd name="connsiteY42" fmla="*/ 3287889 h 5178778"/>
              <a:gd name="connsiteX43" fmla="*/ 4870223 w 5519334"/>
              <a:gd name="connsiteY43" fmla="*/ 3189111 h 5178778"/>
              <a:gd name="connsiteX44" fmla="*/ 5237112 w 5519334"/>
              <a:gd name="connsiteY44" fmla="*/ 3005667 h 5178778"/>
              <a:gd name="connsiteX45" fmla="*/ 5350001 w 5519334"/>
              <a:gd name="connsiteY45" fmla="*/ 2808111 h 5178778"/>
              <a:gd name="connsiteX46" fmla="*/ 5491112 w 5519334"/>
              <a:gd name="connsiteY46" fmla="*/ 2370667 h 5178778"/>
              <a:gd name="connsiteX47" fmla="*/ 5519334 w 5519334"/>
              <a:gd name="connsiteY47" fmla="*/ 2201333 h 5178778"/>
              <a:gd name="connsiteX48" fmla="*/ 5505223 w 5519334"/>
              <a:gd name="connsiteY48" fmla="*/ 1947333 h 5178778"/>
              <a:gd name="connsiteX49" fmla="*/ 5462890 w 5519334"/>
              <a:gd name="connsiteY49" fmla="*/ 1340555 h 5178778"/>
              <a:gd name="connsiteX50" fmla="*/ 5448779 w 5519334"/>
              <a:gd name="connsiteY50" fmla="*/ 620889 h 5178778"/>
              <a:gd name="connsiteX51" fmla="*/ 5420557 w 5519334"/>
              <a:gd name="connsiteY51" fmla="*/ 536222 h 5178778"/>
              <a:gd name="connsiteX52" fmla="*/ 5293557 w 5519334"/>
              <a:gd name="connsiteY52" fmla="*/ 197555 h 5178778"/>
              <a:gd name="connsiteX53" fmla="*/ 5251223 w 5519334"/>
              <a:gd name="connsiteY53" fmla="*/ 169333 h 5178778"/>
              <a:gd name="connsiteX54" fmla="*/ 5138334 w 5519334"/>
              <a:gd name="connsiteY54" fmla="*/ 84667 h 5178778"/>
              <a:gd name="connsiteX55" fmla="*/ 4503334 w 5519334"/>
              <a:gd name="connsiteY55" fmla="*/ 14111 h 5178778"/>
              <a:gd name="connsiteX56" fmla="*/ 4164668 w 5519334"/>
              <a:gd name="connsiteY56" fmla="*/ 0 h 5178778"/>
              <a:gd name="connsiteX57" fmla="*/ 3600223 w 5519334"/>
              <a:gd name="connsiteY57" fmla="*/ 28222 h 5178778"/>
              <a:gd name="connsiteX58" fmla="*/ 3473223 w 5519334"/>
              <a:gd name="connsiteY58" fmla="*/ 84667 h 5178778"/>
              <a:gd name="connsiteX59" fmla="*/ 3318001 w 5519334"/>
              <a:gd name="connsiteY59" fmla="*/ 324555 h 5178778"/>
              <a:gd name="connsiteX60" fmla="*/ 3318001 w 5519334"/>
              <a:gd name="connsiteY60" fmla="*/ 381000 h 5178778"/>
              <a:gd name="connsiteX61" fmla="*/ 3176890 w 5519334"/>
              <a:gd name="connsiteY61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20446 w 5519334"/>
              <a:gd name="connsiteY3" fmla="*/ 1453444 h 5178778"/>
              <a:gd name="connsiteX4" fmla="*/ 3049890 w 5519334"/>
              <a:gd name="connsiteY4" fmla="*/ 1792111 h 5178778"/>
              <a:gd name="connsiteX5" fmla="*/ 3021668 w 5519334"/>
              <a:gd name="connsiteY5" fmla="*/ 2032000 h 5178778"/>
              <a:gd name="connsiteX6" fmla="*/ 2951112 w 5519334"/>
              <a:gd name="connsiteY6" fmla="*/ 2130778 h 5178778"/>
              <a:gd name="connsiteX7" fmla="*/ 2852334 w 5519334"/>
              <a:gd name="connsiteY7" fmla="*/ 2229555 h 5178778"/>
              <a:gd name="connsiteX8" fmla="*/ 2654779 w 5519334"/>
              <a:gd name="connsiteY8" fmla="*/ 2398889 h 5178778"/>
              <a:gd name="connsiteX9" fmla="*/ 2330223 w 5519334"/>
              <a:gd name="connsiteY9" fmla="*/ 2667000 h 5178778"/>
              <a:gd name="connsiteX10" fmla="*/ 2118557 w 5519334"/>
              <a:gd name="connsiteY10" fmla="*/ 2751667 h 5178778"/>
              <a:gd name="connsiteX11" fmla="*/ 2033890 w 5519334"/>
              <a:gd name="connsiteY11" fmla="*/ 2765778 h 5178778"/>
              <a:gd name="connsiteX12" fmla="*/ 1723446 w 5519334"/>
              <a:gd name="connsiteY12" fmla="*/ 2808111 h 5178778"/>
              <a:gd name="connsiteX13" fmla="*/ 1286001 w 5519334"/>
              <a:gd name="connsiteY13" fmla="*/ 2850444 h 5178778"/>
              <a:gd name="connsiteX14" fmla="*/ 1017890 w 5519334"/>
              <a:gd name="connsiteY14" fmla="*/ 2892778 h 5178778"/>
              <a:gd name="connsiteX15" fmla="*/ 749779 w 5519334"/>
              <a:gd name="connsiteY15" fmla="*/ 2935111 h 5178778"/>
              <a:gd name="connsiteX16" fmla="*/ 651001 w 5519334"/>
              <a:gd name="connsiteY16" fmla="*/ 3005667 h 5178778"/>
              <a:gd name="connsiteX17" fmla="*/ 453446 w 5519334"/>
              <a:gd name="connsiteY17" fmla="*/ 3118555 h 5178778"/>
              <a:gd name="connsiteX18" fmla="*/ 340557 w 5519334"/>
              <a:gd name="connsiteY18" fmla="*/ 3203222 h 5178778"/>
              <a:gd name="connsiteX19" fmla="*/ 171223 w 5519334"/>
              <a:gd name="connsiteY19" fmla="*/ 3414889 h 5178778"/>
              <a:gd name="connsiteX20" fmla="*/ 157112 w 5519334"/>
              <a:gd name="connsiteY20" fmla="*/ 3471333 h 5178778"/>
              <a:gd name="connsiteX21" fmla="*/ 16001 w 5519334"/>
              <a:gd name="connsiteY21" fmla="*/ 3781778 h 5178778"/>
              <a:gd name="connsiteX22" fmla="*/ 1890 w 5519334"/>
              <a:gd name="connsiteY22" fmla="*/ 3979333 h 5178778"/>
              <a:gd name="connsiteX23" fmla="*/ 72446 w 5519334"/>
              <a:gd name="connsiteY23" fmla="*/ 4275667 h 5178778"/>
              <a:gd name="connsiteX24" fmla="*/ 241779 w 5519334"/>
              <a:gd name="connsiteY24" fmla="*/ 4459111 h 5178778"/>
              <a:gd name="connsiteX25" fmla="*/ 524001 w 5519334"/>
              <a:gd name="connsiteY25" fmla="*/ 4670778 h 5178778"/>
              <a:gd name="connsiteX26" fmla="*/ 763890 w 5519334"/>
              <a:gd name="connsiteY26" fmla="*/ 4783667 h 5178778"/>
              <a:gd name="connsiteX27" fmla="*/ 1102557 w 5519334"/>
              <a:gd name="connsiteY27" fmla="*/ 4967111 h 5178778"/>
              <a:gd name="connsiteX28" fmla="*/ 1427112 w 5519334"/>
              <a:gd name="connsiteY28" fmla="*/ 5108222 h 5178778"/>
              <a:gd name="connsiteX29" fmla="*/ 1667001 w 5519334"/>
              <a:gd name="connsiteY29" fmla="*/ 5150555 h 5178778"/>
              <a:gd name="connsiteX30" fmla="*/ 2287890 w 5519334"/>
              <a:gd name="connsiteY30" fmla="*/ 5178778 h 5178778"/>
              <a:gd name="connsiteX31" fmla="*/ 3021668 w 5519334"/>
              <a:gd name="connsiteY31" fmla="*/ 5150555 h 5178778"/>
              <a:gd name="connsiteX32" fmla="*/ 3402668 w 5519334"/>
              <a:gd name="connsiteY32" fmla="*/ 4938889 h 5178778"/>
              <a:gd name="connsiteX33" fmla="*/ 3487334 w 5519334"/>
              <a:gd name="connsiteY33" fmla="*/ 4854222 h 5178778"/>
              <a:gd name="connsiteX34" fmla="*/ 3529668 w 5519334"/>
              <a:gd name="connsiteY34" fmla="*/ 4684889 h 5178778"/>
              <a:gd name="connsiteX35" fmla="*/ 3600223 w 5519334"/>
              <a:gd name="connsiteY35" fmla="*/ 4176889 h 5178778"/>
              <a:gd name="connsiteX36" fmla="*/ 3670779 w 5519334"/>
              <a:gd name="connsiteY36" fmla="*/ 4021667 h 5178778"/>
              <a:gd name="connsiteX37" fmla="*/ 3741334 w 5519334"/>
              <a:gd name="connsiteY37" fmla="*/ 3894667 h 5178778"/>
              <a:gd name="connsiteX38" fmla="*/ 4065890 w 5519334"/>
              <a:gd name="connsiteY38" fmla="*/ 3654778 h 5178778"/>
              <a:gd name="connsiteX39" fmla="*/ 4122334 w 5519334"/>
              <a:gd name="connsiteY39" fmla="*/ 3612444 h 5178778"/>
              <a:gd name="connsiteX40" fmla="*/ 4291668 w 5519334"/>
              <a:gd name="connsiteY40" fmla="*/ 3527778 h 5178778"/>
              <a:gd name="connsiteX41" fmla="*/ 4517446 w 5519334"/>
              <a:gd name="connsiteY41" fmla="*/ 3400778 h 5178778"/>
              <a:gd name="connsiteX42" fmla="*/ 4715001 w 5519334"/>
              <a:gd name="connsiteY42" fmla="*/ 3287889 h 5178778"/>
              <a:gd name="connsiteX43" fmla="*/ 4870223 w 5519334"/>
              <a:gd name="connsiteY43" fmla="*/ 3189111 h 5178778"/>
              <a:gd name="connsiteX44" fmla="*/ 5237112 w 5519334"/>
              <a:gd name="connsiteY44" fmla="*/ 3005667 h 5178778"/>
              <a:gd name="connsiteX45" fmla="*/ 5350001 w 5519334"/>
              <a:gd name="connsiteY45" fmla="*/ 2808111 h 5178778"/>
              <a:gd name="connsiteX46" fmla="*/ 5491112 w 5519334"/>
              <a:gd name="connsiteY46" fmla="*/ 2370667 h 5178778"/>
              <a:gd name="connsiteX47" fmla="*/ 5519334 w 5519334"/>
              <a:gd name="connsiteY47" fmla="*/ 2201333 h 5178778"/>
              <a:gd name="connsiteX48" fmla="*/ 5505223 w 5519334"/>
              <a:gd name="connsiteY48" fmla="*/ 1947333 h 5178778"/>
              <a:gd name="connsiteX49" fmla="*/ 5462890 w 5519334"/>
              <a:gd name="connsiteY49" fmla="*/ 1340555 h 5178778"/>
              <a:gd name="connsiteX50" fmla="*/ 5448779 w 5519334"/>
              <a:gd name="connsiteY50" fmla="*/ 620889 h 5178778"/>
              <a:gd name="connsiteX51" fmla="*/ 5420557 w 5519334"/>
              <a:gd name="connsiteY51" fmla="*/ 536222 h 5178778"/>
              <a:gd name="connsiteX52" fmla="*/ 5293557 w 5519334"/>
              <a:gd name="connsiteY52" fmla="*/ 197555 h 5178778"/>
              <a:gd name="connsiteX53" fmla="*/ 5251223 w 5519334"/>
              <a:gd name="connsiteY53" fmla="*/ 169333 h 5178778"/>
              <a:gd name="connsiteX54" fmla="*/ 5138334 w 5519334"/>
              <a:gd name="connsiteY54" fmla="*/ 84667 h 5178778"/>
              <a:gd name="connsiteX55" fmla="*/ 4503334 w 5519334"/>
              <a:gd name="connsiteY55" fmla="*/ 14111 h 5178778"/>
              <a:gd name="connsiteX56" fmla="*/ 4164668 w 5519334"/>
              <a:gd name="connsiteY56" fmla="*/ 0 h 5178778"/>
              <a:gd name="connsiteX57" fmla="*/ 3600223 w 5519334"/>
              <a:gd name="connsiteY57" fmla="*/ 28222 h 5178778"/>
              <a:gd name="connsiteX58" fmla="*/ 3473223 w 5519334"/>
              <a:gd name="connsiteY58" fmla="*/ 84667 h 5178778"/>
              <a:gd name="connsiteX59" fmla="*/ 3318001 w 5519334"/>
              <a:gd name="connsiteY59" fmla="*/ 324555 h 5178778"/>
              <a:gd name="connsiteX60" fmla="*/ 3176890 w 5519334"/>
              <a:gd name="connsiteY60" fmla="*/ 747888 h 5178778"/>
              <a:gd name="connsiteX0" fmla="*/ 3162779 w 5519334"/>
              <a:gd name="connsiteY0" fmla="*/ 776111 h 5178778"/>
              <a:gd name="connsiteX1" fmla="*/ 3162779 w 5519334"/>
              <a:gd name="connsiteY1" fmla="*/ 776111 h 5178778"/>
              <a:gd name="connsiteX2" fmla="*/ 3134557 w 5519334"/>
              <a:gd name="connsiteY2" fmla="*/ 1100667 h 5178778"/>
              <a:gd name="connsiteX3" fmla="*/ 3120446 w 5519334"/>
              <a:gd name="connsiteY3" fmla="*/ 1453444 h 5178778"/>
              <a:gd name="connsiteX4" fmla="*/ 3049890 w 5519334"/>
              <a:gd name="connsiteY4" fmla="*/ 1792111 h 5178778"/>
              <a:gd name="connsiteX5" fmla="*/ 3021668 w 5519334"/>
              <a:gd name="connsiteY5" fmla="*/ 2032000 h 5178778"/>
              <a:gd name="connsiteX6" fmla="*/ 2951112 w 5519334"/>
              <a:gd name="connsiteY6" fmla="*/ 2130778 h 5178778"/>
              <a:gd name="connsiteX7" fmla="*/ 2852334 w 5519334"/>
              <a:gd name="connsiteY7" fmla="*/ 2229555 h 5178778"/>
              <a:gd name="connsiteX8" fmla="*/ 2654779 w 5519334"/>
              <a:gd name="connsiteY8" fmla="*/ 2398889 h 5178778"/>
              <a:gd name="connsiteX9" fmla="*/ 2330223 w 5519334"/>
              <a:gd name="connsiteY9" fmla="*/ 2667000 h 5178778"/>
              <a:gd name="connsiteX10" fmla="*/ 2118557 w 5519334"/>
              <a:gd name="connsiteY10" fmla="*/ 2751667 h 5178778"/>
              <a:gd name="connsiteX11" fmla="*/ 2033890 w 5519334"/>
              <a:gd name="connsiteY11" fmla="*/ 2765778 h 5178778"/>
              <a:gd name="connsiteX12" fmla="*/ 1723446 w 5519334"/>
              <a:gd name="connsiteY12" fmla="*/ 2808111 h 5178778"/>
              <a:gd name="connsiteX13" fmla="*/ 1286001 w 5519334"/>
              <a:gd name="connsiteY13" fmla="*/ 2850444 h 5178778"/>
              <a:gd name="connsiteX14" fmla="*/ 1017890 w 5519334"/>
              <a:gd name="connsiteY14" fmla="*/ 2892778 h 5178778"/>
              <a:gd name="connsiteX15" fmla="*/ 749779 w 5519334"/>
              <a:gd name="connsiteY15" fmla="*/ 2935111 h 5178778"/>
              <a:gd name="connsiteX16" fmla="*/ 651001 w 5519334"/>
              <a:gd name="connsiteY16" fmla="*/ 3005667 h 5178778"/>
              <a:gd name="connsiteX17" fmla="*/ 453446 w 5519334"/>
              <a:gd name="connsiteY17" fmla="*/ 3118555 h 5178778"/>
              <a:gd name="connsiteX18" fmla="*/ 340557 w 5519334"/>
              <a:gd name="connsiteY18" fmla="*/ 3203222 h 5178778"/>
              <a:gd name="connsiteX19" fmla="*/ 171223 w 5519334"/>
              <a:gd name="connsiteY19" fmla="*/ 3414889 h 5178778"/>
              <a:gd name="connsiteX20" fmla="*/ 157112 w 5519334"/>
              <a:gd name="connsiteY20" fmla="*/ 3471333 h 5178778"/>
              <a:gd name="connsiteX21" fmla="*/ 16001 w 5519334"/>
              <a:gd name="connsiteY21" fmla="*/ 3781778 h 5178778"/>
              <a:gd name="connsiteX22" fmla="*/ 1890 w 5519334"/>
              <a:gd name="connsiteY22" fmla="*/ 3979333 h 5178778"/>
              <a:gd name="connsiteX23" fmla="*/ 72446 w 5519334"/>
              <a:gd name="connsiteY23" fmla="*/ 4275667 h 5178778"/>
              <a:gd name="connsiteX24" fmla="*/ 241779 w 5519334"/>
              <a:gd name="connsiteY24" fmla="*/ 4459111 h 5178778"/>
              <a:gd name="connsiteX25" fmla="*/ 524001 w 5519334"/>
              <a:gd name="connsiteY25" fmla="*/ 4670778 h 5178778"/>
              <a:gd name="connsiteX26" fmla="*/ 763890 w 5519334"/>
              <a:gd name="connsiteY26" fmla="*/ 4783667 h 5178778"/>
              <a:gd name="connsiteX27" fmla="*/ 1102557 w 5519334"/>
              <a:gd name="connsiteY27" fmla="*/ 4967111 h 5178778"/>
              <a:gd name="connsiteX28" fmla="*/ 1427112 w 5519334"/>
              <a:gd name="connsiteY28" fmla="*/ 5108222 h 5178778"/>
              <a:gd name="connsiteX29" fmla="*/ 1667001 w 5519334"/>
              <a:gd name="connsiteY29" fmla="*/ 5150555 h 5178778"/>
              <a:gd name="connsiteX30" fmla="*/ 2287890 w 5519334"/>
              <a:gd name="connsiteY30" fmla="*/ 5178778 h 5178778"/>
              <a:gd name="connsiteX31" fmla="*/ 3021668 w 5519334"/>
              <a:gd name="connsiteY31" fmla="*/ 5150555 h 5178778"/>
              <a:gd name="connsiteX32" fmla="*/ 3402668 w 5519334"/>
              <a:gd name="connsiteY32" fmla="*/ 4938889 h 5178778"/>
              <a:gd name="connsiteX33" fmla="*/ 3487334 w 5519334"/>
              <a:gd name="connsiteY33" fmla="*/ 4854222 h 5178778"/>
              <a:gd name="connsiteX34" fmla="*/ 3529668 w 5519334"/>
              <a:gd name="connsiteY34" fmla="*/ 4684889 h 5178778"/>
              <a:gd name="connsiteX35" fmla="*/ 3600223 w 5519334"/>
              <a:gd name="connsiteY35" fmla="*/ 4176889 h 5178778"/>
              <a:gd name="connsiteX36" fmla="*/ 3670779 w 5519334"/>
              <a:gd name="connsiteY36" fmla="*/ 4021667 h 5178778"/>
              <a:gd name="connsiteX37" fmla="*/ 3741334 w 5519334"/>
              <a:gd name="connsiteY37" fmla="*/ 3894667 h 5178778"/>
              <a:gd name="connsiteX38" fmla="*/ 4065890 w 5519334"/>
              <a:gd name="connsiteY38" fmla="*/ 3654778 h 5178778"/>
              <a:gd name="connsiteX39" fmla="*/ 4122334 w 5519334"/>
              <a:gd name="connsiteY39" fmla="*/ 3612444 h 5178778"/>
              <a:gd name="connsiteX40" fmla="*/ 4291668 w 5519334"/>
              <a:gd name="connsiteY40" fmla="*/ 3527778 h 5178778"/>
              <a:gd name="connsiteX41" fmla="*/ 4517446 w 5519334"/>
              <a:gd name="connsiteY41" fmla="*/ 3400778 h 5178778"/>
              <a:gd name="connsiteX42" fmla="*/ 4715001 w 5519334"/>
              <a:gd name="connsiteY42" fmla="*/ 3287889 h 5178778"/>
              <a:gd name="connsiteX43" fmla="*/ 4870223 w 5519334"/>
              <a:gd name="connsiteY43" fmla="*/ 3189111 h 5178778"/>
              <a:gd name="connsiteX44" fmla="*/ 5237112 w 5519334"/>
              <a:gd name="connsiteY44" fmla="*/ 3005667 h 5178778"/>
              <a:gd name="connsiteX45" fmla="*/ 5350001 w 5519334"/>
              <a:gd name="connsiteY45" fmla="*/ 2808111 h 5178778"/>
              <a:gd name="connsiteX46" fmla="*/ 5491112 w 5519334"/>
              <a:gd name="connsiteY46" fmla="*/ 2370667 h 5178778"/>
              <a:gd name="connsiteX47" fmla="*/ 5519334 w 5519334"/>
              <a:gd name="connsiteY47" fmla="*/ 2201333 h 5178778"/>
              <a:gd name="connsiteX48" fmla="*/ 5505223 w 5519334"/>
              <a:gd name="connsiteY48" fmla="*/ 1947333 h 5178778"/>
              <a:gd name="connsiteX49" fmla="*/ 5462890 w 5519334"/>
              <a:gd name="connsiteY49" fmla="*/ 1340555 h 5178778"/>
              <a:gd name="connsiteX50" fmla="*/ 5448779 w 5519334"/>
              <a:gd name="connsiteY50" fmla="*/ 620889 h 5178778"/>
              <a:gd name="connsiteX51" fmla="*/ 5420557 w 5519334"/>
              <a:gd name="connsiteY51" fmla="*/ 536222 h 5178778"/>
              <a:gd name="connsiteX52" fmla="*/ 5293557 w 5519334"/>
              <a:gd name="connsiteY52" fmla="*/ 197555 h 5178778"/>
              <a:gd name="connsiteX53" fmla="*/ 5138334 w 5519334"/>
              <a:gd name="connsiteY53" fmla="*/ 84667 h 5178778"/>
              <a:gd name="connsiteX54" fmla="*/ 4503334 w 5519334"/>
              <a:gd name="connsiteY54" fmla="*/ 14111 h 5178778"/>
              <a:gd name="connsiteX55" fmla="*/ 4164668 w 5519334"/>
              <a:gd name="connsiteY55" fmla="*/ 0 h 5178778"/>
              <a:gd name="connsiteX56" fmla="*/ 3600223 w 5519334"/>
              <a:gd name="connsiteY56" fmla="*/ 28222 h 5178778"/>
              <a:gd name="connsiteX57" fmla="*/ 3473223 w 5519334"/>
              <a:gd name="connsiteY57" fmla="*/ 84667 h 5178778"/>
              <a:gd name="connsiteX58" fmla="*/ 3318001 w 5519334"/>
              <a:gd name="connsiteY58" fmla="*/ 324555 h 5178778"/>
              <a:gd name="connsiteX59" fmla="*/ 3176890 w 5519334"/>
              <a:gd name="connsiteY59" fmla="*/ 747888 h 5178778"/>
              <a:gd name="connsiteX0" fmla="*/ 3162779 w 5505223"/>
              <a:gd name="connsiteY0" fmla="*/ 776111 h 5178778"/>
              <a:gd name="connsiteX1" fmla="*/ 3162779 w 5505223"/>
              <a:gd name="connsiteY1" fmla="*/ 776111 h 5178778"/>
              <a:gd name="connsiteX2" fmla="*/ 3134557 w 5505223"/>
              <a:gd name="connsiteY2" fmla="*/ 1100667 h 5178778"/>
              <a:gd name="connsiteX3" fmla="*/ 3120446 w 5505223"/>
              <a:gd name="connsiteY3" fmla="*/ 1453444 h 5178778"/>
              <a:gd name="connsiteX4" fmla="*/ 3049890 w 5505223"/>
              <a:gd name="connsiteY4" fmla="*/ 1792111 h 5178778"/>
              <a:gd name="connsiteX5" fmla="*/ 3021668 w 5505223"/>
              <a:gd name="connsiteY5" fmla="*/ 2032000 h 5178778"/>
              <a:gd name="connsiteX6" fmla="*/ 2951112 w 5505223"/>
              <a:gd name="connsiteY6" fmla="*/ 2130778 h 5178778"/>
              <a:gd name="connsiteX7" fmla="*/ 2852334 w 5505223"/>
              <a:gd name="connsiteY7" fmla="*/ 2229555 h 5178778"/>
              <a:gd name="connsiteX8" fmla="*/ 2654779 w 5505223"/>
              <a:gd name="connsiteY8" fmla="*/ 2398889 h 5178778"/>
              <a:gd name="connsiteX9" fmla="*/ 2330223 w 5505223"/>
              <a:gd name="connsiteY9" fmla="*/ 2667000 h 5178778"/>
              <a:gd name="connsiteX10" fmla="*/ 2118557 w 5505223"/>
              <a:gd name="connsiteY10" fmla="*/ 2751667 h 5178778"/>
              <a:gd name="connsiteX11" fmla="*/ 2033890 w 5505223"/>
              <a:gd name="connsiteY11" fmla="*/ 2765778 h 5178778"/>
              <a:gd name="connsiteX12" fmla="*/ 1723446 w 5505223"/>
              <a:gd name="connsiteY12" fmla="*/ 2808111 h 5178778"/>
              <a:gd name="connsiteX13" fmla="*/ 1286001 w 5505223"/>
              <a:gd name="connsiteY13" fmla="*/ 2850444 h 5178778"/>
              <a:gd name="connsiteX14" fmla="*/ 1017890 w 5505223"/>
              <a:gd name="connsiteY14" fmla="*/ 2892778 h 5178778"/>
              <a:gd name="connsiteX15" fmla="*/ 749779 w 5505223"/>
              <a:gd name="connsiteY15" fmla="*/ 2935111 h 5178778"/>
              <a:gd name="connsiteX16" fmla="*/ 651001 w 5505223"/>
              <a:gd name="connsiteY16" fmla="*/ 3005667 h 5178778"/>
              <a:gd name="connsiteX17" fmla="*/ 453446 w 5505223"/>
              <a:gd name="connsiteY17" fmla="*/ 3118555 h 5178778"/>
              <a:gd name="connsiteX18" fmla="*/ 340557 w 5505223"/>
              <a:gd name="connsiteY18" fmla="*/ 3203222 h 5178778"/>
              <a:gd name="connsiteX19" fmla="*/ 171223 w 5505223"/>
              <a:gd name="connsiteY19" fmla="*/ 3414889 h 5178778"/>
              <a:gd name="connsiteX20" fmla="*/ 157112 w 5505223"/>
              <a:gd name="connsiteY20" fmla="*/ 3471333 h 5178778"/>
              <a:gd name="connsiteX21" fmla="*/ 16001 w 5505223"/>
              <a:gd name="connsiteY21" fmla="*/ 3781778 h 5178778"/>
              <a:gd name="connsiteX22" fmla="*/ 1890 w 5505223"/>
              <a:gd name="connsiteY22" fmla="*/ 3979333 h 5178778"/>
              <a:gd name="connsiteX23" fmla="*/ 72446 w 5505223"/>
              <a:gd name="connsiteY23" fmla="*/ 4275667 h 5178778"/>
              <a:gd name="connsiteX24" fmla="*/ 241779 w 5505223"/>
              <a:gd name="connsiteY24" fmla="*/ 4459111 h 5178778"/>
              <a:gd name="connsiteX25" fmla="*/ 524001 w 5505223"/>
              <a:gd name="connsiteY25" fmla="*/ 4670778 h 5178778"/>
              <a:gd name="connsiteX26" fmla="*/ 763890 w 5505223"/>
              <a:gd name="connsiteY26" fmla="*/ 4783667 h 5178778"/>
              <a:gd name="connsiteX27" fmla="*/ 1102557 w 5505223"/>
              <a:gd name="connsiteY27" fmla="*/ 4967111 h 5178778"/>
              <a:gd name="connsiteX28" fmla="*/ 1427112 w 5505223"/>
              <a:gd name="connsiteY28" fmla="*/ 5108222 h 5178778"/>
              <a:gd name="connsiteX29" fmla="*/ 1667001 w 5505223"/>
              <a:gd name="connsiteY29" fmla="*/ 5150555 h 5178778"/>
              <a:gd name="connsiteX30" fmla="*/ 2287890 w 5505223"/>
              <a:gd name="connsiteY30" fmla="*/ 5178778 h 5178778"/>
              <a:gd name="connsiteX31" fmla="*/ 3021668 w 5505223"/>
              <a:gd name="connsiteY31" fmla="*/ 5150555 h 5178778"/>
              <a:gd name="connsiteX32" fmla="*/ 3402668 w 5505223"/>
              <a:gd name="connsiteY32" fmla="*/ 4938889 h 5178778"/>
              <a:gd name="connsiteX33" fmla="*/ 3487334 w 5505223"/>
              <a:gd name="connsiteY33" fmla="*/ 4854222 h 5178778"/>
              <a:gd name="connsiteX34" fmla="*/ 3529668 w 5505223"/>
              <a:gd name="connsiteY34" fmla="*/ 4684889 h 5178778"/>
              <a:gd name="connsiteX35" fmla="*/ 3600223 w 5505223"/>
              <a:gd name="connsiteY35" fmla="*/ 4176889 h 5178778"/>
              <a:gd name="connsiteX36" fmla="*/ 3670779 w 5505223"/>
              <a:gd name="connsiteY36" fmla="*/ 4021667 h 5178778"/>
              <a:gd name="connsiteX37" fmla="*/ 3741334 w 5505223"/>
              <a:gd name="connsiteY37" fmla="*/ 3894667 h 5178778"/>
              <a:gd name="connsiteX38" fmla="*/ 4065890 w 5505223"/>
              <a:gd name="connsiteY38" fmla="*/ 3654778 h 5178778"/>
              <a:gd name="connsiteX39" fmla="*/ 4122334 w 5505223"/>
              <a:gd name="connsiteY39" fmla="*/ 3612444 h 5178778"/>
              <a:gd name="connsiteX40" fmla="*/ 4291668 w 5505223"/>
              <a:gd name="connsiteY40" fmla="*/ 3527778 h 5178778"/>
              <a:gd name="connsiteX41" fmla="*/ 4517446 w 5505223"/>
              <a:gd name="connsiteY41" fmla="*/ 3400778 h 5178778"/>
              <a:gd name="connsiteX42" fmla="*/ 4715001 w 5505223"/>
              <a:gd name="connsiteY42" fmla="*/ 3287889 h 5178778"/>
              <a:gd name="connsiteX43" fmla="*/ 4870223 w 5505223"/>
              <a:gd name="connsiteY43" fmla="*/ 3189111 h 5178778"/>
              <a:gd name="connsiteX44" fmla="*/ 5237112 w 5505223"/>
              <a:gd name="connsiteY44" fmla="*/ 3005667 h 5178778"/>
              <a:gd name="connsiteX45" fmla="*/ 5350001 w 5505223"/>
              <a:gd name="connsiteY45" fmla="*/ 2808111 h 5178778"/>
              <a:gd name="connsiteX46" fmla="*/ 5491112 w 5505223"/>
              <a:gd name="connsiteY46" fmla="*/ 2370667 h 5178778"/>
              <a:gd name="connsiteX47" fmla="*/ 5505223 w 5505223"/>
              <a:gd name="connsiteY47" fmla="*/ 1947333 h 5178778"/>
              <a:gd name="connsiteX48" fmla="*/ 5462890 w 5505223"/>
              <a:gd name="connsiteY48" fmla="*/ 1340555 h 5178778"/>
              <a:gd name="connsiteX49" fmla="*/ 5448779 w 5505223"/>
              <a:gd name="connsiteY49" fmla="*/ 620889 h 5178778"/>
              <a:gd name="connsiteX50" fmla="*/ 5420557 w 5505223"/>
              <a:gd name="connsiteY50" fmla="*/ 536222 h 5178778"/>
              <a:gd name="connsiteX51" fmla="*/ 5293557 w 5505223"/>
              <a:gd name="connsiteY51" fmla="*/ 197555 h 5178778"/>
              <a:gd name="connsiteX52" fmla="*/ 5138334 w 5505223"/>
              <a:gd name="connsiteY52" fmla="*/ 84667 h 5178778"/>
              <a:gd name="connsiteX53" fmla="*/ 4503334 w 5505223"/>
              <a:gd name="connsiteY53" fmla="*/ 14111 h 5178778"/>
              <a:gd name="connsiteX54" fmla="*/ 4164668 w 5505223"/>
              <a:gd name="connsiteY54" fmla="*/ 0 h 5178778"/>
              <a:gd name="connsiteX55" fmla="*/ 3600223 w 5505223"/>
              <a:gd name="connsiteY55" fmla="*/ 28222 h 5178778"/>
              <a:gd name="connsiteX56" fmla="*/ 3473223 w 5505223"/>
              <a:gd name="connsiteY56" fmla="*/ 84667 h 5178778"/>
              <a:gd name="connsiteX57" fmla="*/ 3318001 w 5505223"/>
              <a:gd name="connsiteY57" fmla="*/ 324555 h 5178778"/>
              <a:gd name="connsiteX58" fmla="*/ 3176890 w 5505223"/>
              <a:gd name="connsiteY58" fmla="*/ 747888 h 5178778"/>
              <a:gd name="connsiteX0" fmla="*/ 3162779 w 5505912"/>
              <a:gd name="connsiteY0" fmla="*/ 776111 h 5178778"/>
              <a:gd name="connsiteX1" fmla="*/ 3162779 w 5505912"/>
              <a:gd name="connsiteY1" fmla="*/ 776111 h 5178778"/>
              <a:gd name="connsiteX2" fmla="*/ 3134557 w 5505912"/>
              <a:gd name="connsiteY2" fmla="*/ 1100667 h 5178778"/>
              <a:gd name="connsiteX3" fmla="*/ 3120446 w 5505912"/>
              <a:gd name="connsiteY3" fmla="*/ 1453444 h 5178778"/>
              <a:gd name="connsiteX4" fmla="*/ 3049890 w 5505912"/>
              <a:gd name="connsiteY4" fmla="*/ 1792111 h 5178778"/>
              <a:gd name="connsiteX5" fmla="*/ 3021668 w 5505912"/>
              <a:gd name="connsiteY5" fmla="*/ 2032000 h 5178778"/>
              <a:gd name="connsiteX6" fmla="*/ 2951112 w 5505912"/>
              <a:gd name="connsiteY6" fmla="*/ 2130778 h 5178778"/>
              <a:gd name="connsiteX7" fmla="*/ 2852334 w 5505912"/>
              <a:gd name="connsiteY7" fmla="*/ 2229555 h 5178778"/>
              <a:gd name="connsiteX8" fmla="*/ 2654779 w 5505912"/>
              <a:gd name="connsiteY8" fmla="*/ 2398889 h 5178778"/>
              <a:gd name="connsiteX9" fmla="*/ 2330223 w 5505912"/>
              <a:gd name="connsiteY9" fmla="*/ 2667000 h 5178778"/>
              <a:gd name="connsiteX10" fmla="*/ 2118557 w 5505912"/>
              <a:gd name="connsiteY10" fmla="*/ 2751667 h 5178778"/>
              <a:gd name="connsiteX11" fmla="*/ 2033890 w 5505912"/>
              <a:gd name="connsiteY11" fmla="*/ 2765778 h 5178778"/>
              <a:gd name="connsiteX12" fmla="*/ 1723446 w 5505912"/>
              <a:gd name="connsiteY12" fmla="*/ 2808111 h 5178778"/>
              <a:gd name="connsiteX13" fmla="*/ 1286001 w 5505912"/>
              <a:gd name="connsiteY13" fmla="*/ 2850444 h 5178778"/>
              <a:gd name="connsiteX14" fmla="*/ 1017890 w 5505912"/>
              <a:gd name="connsiteY14" fmla="*/ 2892778 h 5178778"/>
              <a:gd name="connsiteX15" fmla="*/ 749779 w 5505912"/>
              <a:gd name="connsiteY15" fmla="*/ 2935111 h 5178778"/>
              <a:gd name="connsiteX16" fmla="*/ 651001 w 5505912"/>
              <a:gd name="connsiteY16" fmla="*/ 3005667 h 5178778"/>
              <a:gd name="connsiteX17" fmla="*/ 453446 w 5505912"/>
              <a:gd name="connsiteY17" fmla="*/ 3118555 h 5178778"/>
              <a:gd name="connsiteX18" fmla="*/ 340557 w 5505912"/>
              <a:gd name="connsiteY18" fmla="*/ 3203222 h 5178778"/>
              <a:gd name="connsiteX19" fmla="*/ 171223 w 5505912"/>
              <a:gd name="connsiteY19" fmla="*/ 3414889 h 5178778"/>
              <a:gd name="connsiteX20" fmla="*/ 157112 w 5505912"/>
              <a:gd name="connsiteY20" fmla="*/ 3471333 h 5178778"/>
              <a:gd name="connsiteX21" fmla="*/ 16001 w 5505912"/>
              <a:gd name="connsiteY21" fmla="*/ 3781778 h 5178778"/>
              <a:gd name="connsiteX22" fmla="*/ 1890 w 5505912"/>
              <a:gd name="connsiteY22" fmla="*/ 3979333 h 5178778"/>
              <a:gd name="connsiteX23" fmla="*/ 72446 w 5505912"/>
              <a:gd name="connsiteY23" fmla="*/ 4275667 h 5178778"/>
              <a:gd name="connsiteX24" fmla="*/ 241779 w 5505912"/>
              <a:gd name="connsiteY24" fmla="*/ 4459111 h 5178778"/>
              <a:gd name="connsiteX25" fmla="*/ 524001 w 5505912"/>
              <a:gd name="connsiteY25" fmla="*/ 4670778 h 5178778"/>
              <a:gd name="connsiteX26" fmla="*/ 763890 w 5505912"/>
              <a:gd name="connsiteY26" fmla="*/ 4783667 h 5178778"/>
              <a:gd name="connsiteX27" fmla="*/ 1102557 w 5505912"/>
              <a:gd name="connsiteY27" fmla="*/ 4967111 h 5178778"/>
              <a:gd name="connsiteX28" fmla="*/ 1427112 w 5505912"/>
              <a:gd name="connsiteY28" fmla="*/ 5108222 h 5178778"/>
              <a:gd name="connsiteX29" fmla="*/ 1667001 w 5505912"/>
              <a:gd name="connsiteY29" fmla="*/ 5150555 h 5178778"/>
              <a:gd name="connsiteX30" fmla="*/ 2287890 w 5505912"/>
              <a:gd name="connsiteY30" fmla="*/ 5178778 h 5178778"/>
              <a:gd name="connsiteX31" fmla="*/ 3021668 w 5505912"/>
              <a:gd name="connsiteY31" fmla="*/ 5150555 h 5178778"/>
              <a:gd name="connsiteX32" fmla="*/ 3402668 w 5505912"/>
              <a:gd name="connsiteY32" fmla="*/ 4938889 h 5178778"/>
              <a:gd name="connsiteX33" fmla="*/ 3487334 w 5505912"/>
              <a:gd name="connsiteY33" fmla="*/ 4854222 h 5178778"/>
              <a:gd name="connsiteX34" fmla="*/ 3529668 w 5505912"/>
              <a:gd name="connsiteY34" fmla="*/ 4684889 h 5178778"/>
              <a:gd name="connsiteX35" fmla="*/ 3600223 w 5505912"/>
              <a:gd name="connsiteY35" fmla="*/ 4176889 h 5178778"/>
              <a:gd name="connsiteX36" fmla="*/ 3670779 w 5505912"/>
              <a:gd name="connsiteY36" fmla="*/ 4021667 h 5178778"/>
              <a:gd name="connsiteX37" fmla="*/ 3741334 w 5505912"/>
              <a:gd name="connsiteY37" fmla="*/ 3894667 h 5178778"/>
              <a:gd name="connsiteX38" fmla="*/ 4065890 w 5505912"/>
              <a:gd name="connsiteY38" fmla="*/ 3654778 h 5178778"/>
              <a:gd name="connsiteX39" fmla="*/ 4122334 w 5505912"/>
              <a:gd name="connsiteY39" fmla="*/ 3612444 h 5178778"/>
              <a:gd name="connsiteX40" fmla="*/ 4291668 w 5505912"/>
              <a:gd name="connsiteY40" fmla="*/ 3527778 h 5178778"/>
              <a:gd name="connsiteX41" fmla="*/ 4517446 w 5505912"/>
              <a:gd name="connsiteY41" fmla="*/ 3400778 h 5178778"/>
              <a:gd name="connsiteX42" fmla="*/ 4715001 w 5505912"/>
              <a:gd name="connsiteY42" fmla="*/ 3287889 h 5178778"/>
              <a:gd name="connsiteX43" fmla="*/ 4870223 w 5505912"/>
              <a:gd name="connsiteY43" fmla="*/ 3189111 h 5178778"/>
              <a:gd name="connsiteX44" fmla="*/ 5237112 w 5505912"/>
              <a:gd name="connsiteY44" fmla="*/ 3005667 h 5178778"/>
              <a:gd name="connsiteX45" fmla="*/ 5350001 w 5505912"/>
              <a:gd name="connsiteY45" fmla="*/ 2808111 h 5178778"/>
              <a:gd name="connsiteX46" fmla="*/ 5420557 w 5505912"/>
              <a:gd name="connsiteY46" fmla="*/ 2370667 h 5178778"/>
              <a:gd name="connsiteX47" fmla="*/ 5505223 w 5505912"/>
              <a:gd name="connsiteY47" fmla="*/ 1947333 h 5178778"/>
              <a:gd name="connsiteX48" fmla="*/ 5462890 w 5505912"/>
              <a:gd name="connsiteY48" fmla="*/ 1340555 h 5178778"/>
              <a:gd name="connsiteX49" fmla="*/ 5448779 w 5505912"/>
              <a:gd name="connsiteY49" fmla="*/ 620889 h 5178778"/>
              <a:gd name="connsiteX50" fmla="*/ 5420557 w 5505912"/>
              <a:gd name="connsiteY50" fmla="*/ 536222 h 5178778"/>
              <a:gd name="connsiteX51" fmla="*/ 5293557 w 5505912"/>
              <a:gd name="connsiteY51" fmla="*/ 197555 h 5178778"/>
              <a:gd name="connsiteX52" fmla="*/ 5138334 w 5505912"/>
              <a:gd name="connsiteY52" fmla="*/ 84667 h 5178778"/>
              <a:gd name="connsiteX53" fmla="*/ 4503334 w 5505912"/>
              <a:gd name="connsiteY53" fmla="*/ 14111 h 5178778"/>
              <a:gd name="connsiteX54" fmla="*/ 4164668 w 5505912"/>
              <a:gd name="connsiteY54" fmla="*/ 0 h 5178778"/>
              <a:gd name="connsiteX55" fmla="*/ 3600223 w 5505912"/>
              <a:gd name="connsiteY55" fmla="*/ 28222 h 5178778"/>
              <a:gd name="connsiteX56" fmla="*/ 3473223 w 5505912"/>
              <a:gd name="connsiteY56" fmla="*/ 84667 h 5178778"/>
              <a:gd name="connsiteX57" fmla="*/ 3318001 w 5505912"/>
              <a:gd name="connsiteY57" fmla="*/ 324555 h 5178778"/>
              <a:gd name="connsiteX58" fmla="*/ 3176890 w 5505912"/>
              <a:gd name="connsiteY58" fmla="*/ 747888 h 5178778"/>
              <a:gd name="connsiteX0" fmla="*/ 3162779 w 5505912"/>
              <a:gd name="connsiteY0" fmla="*/ 776111 h 5178778"/>
              <a:gd name="connsiteX1" fmla="*/ 3162779 w 5505912"/>
              <a:gd name="connsiteY1" fmla="*/ 776111 h 5178778"/>
              <a:gd name="connsiteX2" fmla="*/ 3134557 w 5505912"/>
              <a:gd name="connsiteY2" fmla="*/ 1100667 h 5178778"/>
              <a:gd name="connsiteX3" fmla="*/ 3120446 w 5505912"/>
              <a:gd name="connsiteY3" fmla="*/ 1453444 h 5178778"/>
              <a:gd name="connsiteX4" fmla="*/ 3049890 w 5505912"/>
              <a:gd name="connsiteY4" fmla="*/ 1792111 h 5178778"/>
              <a:gd name="connsiteX5" fmla="*/ 3021668 w 5505912"/>
              <a:gd name="connsiteY5" fmla="*/ 2032000 h 5178778"/>
              <a:gd name="connsiteX6" fmla="*/ 2951112 w 5505912"/>
              <a:gd name="connsiteY6" fmla="*/ 2130778 h 5178778"/>
              <a:gd name="connsiteX7" fmla="*/ 2852334 w 5505912"/>
              <a:gd name="connsiteY7" fmla="*/ 2229555 h 5178778"/>
              <a:gd name="connsiteX8" fmla="*/ 2654779 w 5505912"/>
              <a:gd name="connsiteY8" fmla="*/ 2398889 h 5178778"/>
              <a:gd name="connsiteX9" fmla="*/ 2330223 w 5505912"/>
              <a:gd name="connsiteY9" fmla="*/ 2667000 h 5178778"/>
              <a:gd name="connsiteX10" fmla="*/ 2118557 w 5505912"/>
              <a:gd name="connsiteY10" fmla="*/ 2751667 h 5178778"/>
              <a:gd name="connsiteX11" fmla="*/ 2033890 w 5505912"/>
              <a:gd name="connsiteY11" fmla="*/ 2765778 h 5178778"/>
              <a:gd name="connsiteX12" fmla="*/ 1723446 w 5505912"/>
              <a:gd name="connsiteY12" fmla="*/ 2808111 h 5178778"/>
              <a:gd name="connsiteX13" fmla="*/ 1286001 w 5505912"/>
              <a:gd name="connsiteY13" fmla="*/ 2850444 h 5178778"/>
              <a:gd name="connsiteX14" fmla="*/ 1017890 w 5505912"/>
              <a:gd name="connsiteY14" fmla="*/ 2892778 h 5178778"/>
              <a:gd name="connsiteX15" fmla="*/ 749779 w 5505912"/>
              <a:gd name="connsiteY15" fmla="*/ 2935111 h 5178778"/>
              <a:gd name="connsiteX16" fmla="*/ 651001 w 5505912"/>
              <a:gd name="connsiteY16" fmla="*/ 3005667 h 5178778"/>
              <a:gd name="connsiteX17" fmla="*/ 453446 w 5505912"/>
              <a:gd name="connsiteY17" fmla="*/ 3118555 h 5178778"/>
              <a:gd name="connsiteX18" fmla="*/ 340557 w 5505912"/>
              <a:gd name="connsiteY18" fmla="*/ 3203222 h 5178778"/>
              <a:gd name="connsiteX19" fmla="*/ 171223 w 5505912"/>
              <a:gd name="connsiteY19" fmla="*/ 3414889 h 5178778"/>
              <a:gd name="connsiteX20" fmla="*/ 157112 w 5505912"/>
              <a:gd name="connsiteY20" fmla="*/ 3471333 h 5178778"/>
              <a:gd name="connsiteX21" fmla="*/ 16001 w 5505912"/>
              <a:gd name="connsiteY21" fmla="*/ 3781778 h 5178778"/>
              <a:gd name="connsiteX22" fmla="*/ 1890 w 5505912"/>
              <a:gd name="connsiteY22" fmla="*/ 3979333 h 5178778"/>
              <a:gd name="connsiteX23" fmla="*/ 72446 w 5505912"/>
              <a:gd name="connsiteY23" fmla="*/ 4275667 h 5178778"/>
              <a:gd name="connsiteX24" fmla="*/ 241779 w 5505912"/>
              <a:gd name="connsiteY24" fmla="*/ 4459111 h 5178778"/>
              <a:gd name="connsiteX25" fmla="*/ 524001 w 5505912"/>
              <a:gd name="connsiteY25" fmla="*/ 4670778 h 5178778"/>
              <a:gd name="connsiteX26" fmla="*/ 763890 w 5505912"/>
              <a:gd name="connsiteY26" fmla="*/ 4783667 h 5178778"/>
              <a:gd name="connsiteX27" fmla="*/ 1102557 w 5505912"/>
              <a:gd name="connsiteY27" fmla="*/ 4967111 h 5178778"/>
              <a:gd name="connsiteX28" fmla="*/ 1427112 w 5505912"/>
              <a:gd name="connsiteY28" fmla="*/ 5108222 h 5178778"/>
              <a:gd name="connsiteX29" fmla="*/ 1667001 w 5505912"/>
              <a:gd name="connsiteY29" fmla="*/ 5150555 h 5178778"/>
              <a:gd name="connsiteX30" fmla="*/ 2287890 w 5505912"/>
              <a:gd name="connsiteY30" fmla="*/ 5178778 h 5178778"/>
              <a:gd name="connsiteX31" fmla="*/ 3021668 w 5505912"/>
              <a:gd name="connsiteY31" fmla="*/ 5150555 h 5178778"/>
              <a:gd name="connsiteX32" fmla="*/ 3402668 w 5505912"/>
              <a:gd name="connsiteY32" fmla="*/ 4938889 h 5178778"/>
              <a:gd name="connsiteX33" fmla="*/ 3487334 w 5505912"/>
              <a:gd name="connsiteY33" fmla="*/ 4854222 h 5178778"/>
              <a:gd name="connsiteX34" fmla="*/ 3529668 w 5505912"/>
              <a:gd name="connsiteY34" fmla="*/ 4684889 h 5178778"/>
              <a:gd name="connsiteX35" fmla="*/ 3600223 w 5505912"/>
              <a:gd name="connsiteY35" fmla="*/ 4176889 h 5178778"/>
              <a:gd name="connsiteX36" fmla="*/ 3670779 w 5505912"/>
              <a:gd name="connsiteY36" fmla="*/ 4021667 h 5178778"/>
              <a:gd name="connsiteX37" fmla="*/ 3741334 w 5505912"/>
              <a:gd name="connsiteY37" fmla="*/ 3894667 h 5178778"/>
              <a:gd name="connsiteX38" fmla="*/ 4065890 w 5505912"/>
              <a:gd name="connsiteY38" fmla="*/ 3654778 h 5178778"/>
              <a:gd name="connsiteX39" fmla="*/ 4122334 w 5505912"/>
              <a:gd name="connsiteY39" fmla="*/ 3612444 h 5178778"/>
              <a:gd name="connsiteX40" fmla="*/ 4291668 w 5505912"/>
              <a:gd name="connsiteY40" fmla="*/ 3527778 h 5178778"/>
              <a:gd name="connsiteX41" fmla="*/ 4517446 w 5505912"/>
              <a:gd name="connsiteY41" fmla="*/ 3400778 h 5178778"/>
              <a:gd name="connsiteX42" fmla="*/ 4715001 w 5505912"/>
              <a:gd name="connsiteY42" fmla="*/ 3287889 h 5178778"/>
              <a:gd name="connsiteX43" fmla="*/ 4870223 w 5505912"/>
              <a:gd name="connsiteY43" fmla="*/ 3189111 h 5178778"/>
              <a:gd name="connsiteX44" fmla="*/ 5237112 w 5505912"/>
              <a:gd name="connsiteY44" fmla="*/ 3005667 h 5178778"/>
              <a:gd name="connsiteX45" fmla="*/ 5350001 w 5505912"/>
              <a:gd name="connsiteY45" fmla="*/ 2808111 h 5178778"/>
              <a:gd name="connsiteX46" fmla="*/ 5420557 w 5505912"/>
              <a:gd name="connsiteY46" fmla="*/ 2370667 h 5178778"/>
              <a:gd name="connsiteX47" fmla="*/ 5505223 w 5505912"/>
              <a:gd name="connsiteY47" fmla="*/ 1947333 h 5178778"/>
              <a:gd name="connsiteX48" fmla="*/ 5462890 w 5505912"/>
              <a:gd name="connsiteY48" fmla="*/ 1340555 h 5178778"/>
              <a:gd name="connsiteX49" fmla="*/ 5448779 w 5505912"/>
              <a:gd name="connsiteY49" fmla="*/ 620889 h 5178778"/>
              <a:gd name="connsiteX50" fmla="*/ 5420557 w 5505912"/>
              <a:gd name="connsiteY50" fmla="*/ 536222 h 5178778"/>
              <a:gd name="connsiteX51" fmla="*/ 5293557 w 5505912"/>
              <a:gd name="connsiteY51" fmla="*/ 197555 h 5178778"/>
              <a:gd name="connsiteX52" fmla="*/ 5138334 w 5505912"/>
              <a:gd name="connsiteY52" fmla="*/ 84667 h 5178778"/>
              <a:gd name="connsiteX53" fmla="*/ 4503334 w 5505912"/>
              <a:gd name="connsiteY53" fmla="*/ 14111 h 5178778"/>
              <a:gd name="connsiteX54" fmla="*/ 4164668 w 5505912"/>
              <a:gd name="connsiteY54" fmla="*/ 0 h 5178778"/>
              <a:gd name="connsiteX55" fmla="*/ 3600223 w 5505912"/>
              <a:gd name="connsiteY55" fmla="*/ 28222 h 5178778"/>
              <a:gd name="connsiteX56" fmla="*/ 3473223 w 5505912"/>
              <a:gd name="connsiteY56" fmla="*/ 84667 h 5178778"/>
              <a:gd name="connsiteX57" fmla="*/ 3318001 w 5505912"/>
              <a:gd name="connsiteY57" fmla="*/ 324555 h 5178778"/>
              <a:gd name="connsiteX58" fmla="*/ 3148668 w 5505912"/>
              <a:gd name="connsiteY58" fmla="*/ 846666 h 5178778"/>
              <a:gd name="connsiteX0" fmla="*/ 3162779 w 5505912"/>
              <a:gd name="connsiteY0" fmla="*/ 931333 h 5334000"/>
              <a:gd name="connsiteX1" fmla="*/ 3162779 w 5505912"/>
              <a:gd name="connsiteY1" fmla="*/ 931333 h 5334000"/>
              <a:gd name="connsiteX2" fmla="*/ 3134557 w 5505912"/>
              <a:gd name="connsiteY2" fmla="*/ 1255889 h 5334000"/>
              <a:gd name="connsiteX3" fmla="*/ 3120446 w 5505912"/>
              <a:gd name="connsiteY3" fmla="*/ 1608666 h 5334000"/>
              <a:gd name="connsiteX4" fmla="*/ 3049890 w 5505912"/>
              <a:gd name="connsiteY4" fmla="*/ 1947333 h 5334000"/>
              <a:gd name="connsiteX5" fmla="*/ 3021668 w 5505912"/>
              <a:gd name="connsiteY5" fmla="*/ 2187222 h 5334000"/>
              <a:gd name="connsiteX6" fmla="*/ 2951112 w 5505912"/>
              <a:gd name="connsiteY6" fmla="*/ 2286000 h 5334000"/>
              <a:gd name="connsiteX7" fmla="*/ 2852334 w 5505912"/>
              <a:gd name="connsiteY7" fmla="*/ 2384777 h 5334000"/>
              <a:gd name="connsiteX8" fmla="*/ 2654779 w 5505912"/>
              <a:gd name="connsiteY8" fmla="*/ 2554111 h 5334000"/>
              <a:gd name="connsiteX9" fmla="*/ 2330223 w 5505912"/>
              <a:gd name="connsiteY9" fmla="*/ 2822222 h 5334000"/>
              <a:gd name="connsiteX10" fmla="*/ 2118557 w 5505912"/>
              <a:gd name="connsiteY10" fmla="*/ 2906889 h 5334000"/>
              <a:gd name="connsiteX11" fmla="*/ 2033890 w 5505912"/>
              <a:gd name="connsiteY11" fmla="*/ 2921000 h 5334000"/>
              <a:gd name="connsiteX12" fmla="*/ 1723446 w 5505912"/>
              <a:gd name="connsiteY12" fmla="*/ 2963333 h 5334000"/>
              <a:gd name="connsiteX13" fmla="*/ 1286001 w 5505912"/>
              <a:gd name="connsiteY13" fmla="*/ 3005666 h 5334000"/>
              <a:gd name="connsiteX14" fmla="*/ 1017890 w 5505912"/>
              <a:gd name="connsiteY14" fmla="*/ 3048000 h 5334000"/>
              <a:gd name="connsiteX15" fmla="*/ 749779 w 5505912"/>
              <a:gd name="connsiteY15" fmla="*/ 3090333 h 5334000"/>
              <a:gd name="connsiteX16" fmla="*/ 651001 w 5505912"/>
              <a:gd name="connsiteY16" fmla="*/ 3160889 h 5334000"/>
              <a:gd name="connsiteX17" fmla="*/ 453446 w 5505912"/>
              <a:gd name="connsiteY17" fmla="*/ 3273777 h 5334000"/>
              <a:gd name="connsiteX18" fmla="*/ 340557 w 5505912"/>
              <a:gd name="connsiteY18" fmla="*/ 3358444 h 5334000"/>
              <a:gd name="connsiteX19" fmla="*/ 171223 w 5505912"/>
              <a:gd name="connsiteY19" fmla="*/ 3570111 h 5334000"/>
              <a:gd name="connsiteX20" fmla="*/ 157112 w 5505912"/>
              <a:gd name="connsiteY20" fmla="*/ 3626555 h 5334000"/>
              <a:gd name="connsiteX21" fmla="*/ 16001 w 5505912"/>
              <a:gd name="connsiteY21" fmla="*/ 3937000 h 5334000"/>
              <a:gd name="connsiteX22" fmla="*/ 1890 w 5505912"/>
              <a:gd name="connsiteY22" fmla="*/ 4134555 h 5334000"/>
              <a:gd name="connsiteX23" fmla="*/ 72446 w 5505912"/>
              <a:gd name="connsiteY23" fmla="*/ 4430889 h 5334000"/>
              <a:gd name="connsiteX24" fmla="*/ 241779 w 5505912"/>
              <a:gd name="connsiteY24" fmla="*/ 4614333 h 5334000"/>
              <a:gd name="connsiteX25" fmla="*/ 524001 w 5505912"/>
              <a:gd name="connsiteY25" fmla="*/ 4826000 h 5334000"/>
              <a:gd name="connsiteX26" fmla="*/ 763890 w 5505912"/>
              <a:gd name="connsiteY26" fmla="*/ 4938889 h 5334000"/>
              <a:gd name="connsiteX27" fmla="*/ 1102557 w 5505912"/>
              <a:gd name="connsiteY27" fmla="*/ 5122333 h 5334000"/>
              <a:gd name="connsiteX28" fmla="*/ 1427112 w 5505912"/>
              <a:gd name="connsiteY28" fmla="*/ 5263444 h 5334000"/>
              <a:gd name="connsiteX29" fmla="*/ 1667001 w 5505912"/>
              <a:gd name="connsiteY29" fmla="*/ 5305777 h 5334000"/>
              <a:gd name="connsiteX30" fmla="*/ 2287890 w 5505912"/>
              <a:gd name="connsiteY30" fmla="*/ 5334000 h 5334000"/>
              <a:gd name="connsiteX31" fmla="*/ 3021668 w 5505912"/>
              <a:gd name="connsiteY31" fmla="*/ 5305777 h 5334000"/>
              <a:gd name="connsiteX32" fmla="*/ 3402668 w 5505912"/>
              <a:gd name="connsiteY32" fmla="*/ 5094111 h 5334000"/>
              <a:gd name="connsiteX33" fmla="*/ 3487334 w 5505912"/>
              <a:gd name="connsiteY33" fmla="*/ 5009444 h 5334000"/>
              <a:gd name="connsiteX34" fmla="*/ 3529668 w 5505912"/>
              <a:gd name="connsiteY34" fmla="*/ 4840111 h 5334000"/>
              <a:gd name="connsiteX35" fmla="*/ 3600223 w 5505912"/>
              <a:gd name="connsiteY35" fmla="*/ 4332111 h 5334000"/>
              <a:gd name="connsiteX36" fmla="*/ 3670779 w 5505912"/>
              <a:gd name="connsiteY36" fmla="*/ 4176889 h 5334000"/>
              <a:gd name="connsiteX37" fmla="*/ 3741334 w 5505912"/>
              <a:gd name="connsiteY37" fmla="*/ 4049889 h 5334000"/>
              <a:gd name="connsiteX38" fmla="*/ 4065890 w 5505912"/>
              <a:gd name="connsiteY38" fmla="*/ 3810000 h 5334000"/>
              <a:gd name="connsiteX39" fmla="*/ 4122334 w 5505912"/>
              <a:gd name="connsiteY39" fmla="*/ 3767666 h 5334000"/>
              <a:gd name="connsiteX40" fmla="*/ 4291668 w 5505912"/>
              <a:gd name="connsiteY40" fmla="*/ 3683000 h 5334000"/>
              <a:gd name="connsiteX41" fmla="*/ 4517446 w 5505912"/>
              <a:gd name="connsiteY41" fmla="*/ 3556000 h 5334000"/>
              <a:gd name="connsiteX42" fmla="*/ 4715001 w 5505912"/>
              <a:gd name="connsiteY42" fmla="*/ 3443111 h 5334000"/>
              <a:gd name="connsiteX43" fmla="*/ 4870223 w 5505912"/>
              <a:gd name="connsiteY43" fmla="*/ 3344333 h 5334000"/>
              <a:gd name="connsiteX44" fmla="*/ 5237112 w 5505912"/>
              <a:gd name="connsiteY44" fmla="*/ 3160889 h 5334000"/>
              <a:gd name="connsiteX45" fmla="*/ 5350001 w 5505912"/>
              <a:gd name="connsiteY45" fmla="*/ 2963333 h 5334000"/>
              <a:gd name="connsiteX46" fmla="*/ 5420557 w 5505912"/>
              <a:gd name="connsiteY46" fmla="*/ 2525889 h 5334000"/>
              <a:gd name="connsiteX47" fmla="*/ 5505223 w 5505912"/>
              <a:gd name="connsiteY47" fmla="*/ 2102555 h 5334000"/>
              <a:gd name="connsiteX48" fmla="*/ 5462890 w 5505912"/>
              <a:gd name="connsiteY48" fmla="*/ 1495777 h 5334000"/>
              <a:gd name="connsiteX49" fmla="*/ 5448779 w 5505912"/>
              <a:gd name="connsiteY49" fmla="*/ 776111 h 5334000"/>
              <a:gd name="connsiteX50" fmla="*/ 5420557 w 5505912"/>
              <a:gd name="connsiteY50" fmla="*/ 691444 h 5334000"/>
              <a:gd name="connsiteX51" fmla="*/ 5293557 w 5505912"/>
              <a:gd name="connsiteY51" fmla="*/ 352777 h 5334000"/>
              <a:gd name="connsiteX52" fmla="*/ 5138334 w 5505912"/>
              <a:gd name="connsiteY52" fmla="*/ 239889 h 5334000"/>
              <a:gd name="connsiteX53" fmla="*/ 4503334 w 5505912"/>
              <a:gd name="connsiteY53" fmla="*/ 169333 h 5334000"/>
              <a:gd name="connsiteX54" fmla="*/ 4164668 w 5505912"/>
              <a:gd name="connsiteY54" fmla="*/ 0 h 5334000"/>
              <a:gd name="connsiteX55" fmla="*/ 3600223 w 5505912"/>
              <a:gd name="connsiteY55" fmla="*/ 183444 h 5334000"/>
              <a:gd name="connsiteX56" fmla="*/ 3473223 w 5505912"/>
              <a:gd name="connsiteY56" fmla="*/ 239889 h 5334000"/>
              <a:gd name="connsiteX57" fmla="*/ 3318001 w 5505912"/>
              <a:gd name="connsiteY57" fmla="*/ 479777 h 5334000"/>
              <a:gd name="connsiteX58" fmla="*/ 3148668 w 5505912"/>
              <a:gd name="connsiteY58" fmla="*/ 1001888 h 5334000"/>
              <a:gd name="connsiteX0" fmla="*/ 3162779 w 5505912"/>
              <a:gd name="connsiteY0" fmla="*/ 1064376 h 5467043"/>
              <a:gd name="connsiteX1" fmla="*/ 3162779 w 5505912"/>
              <a:gd name="connsiteY1" fmla="*/ 1064376 h 5467043"/>
              <a:gd name="connsiteX2" fmla="*/ 3134557 w 5505912"/>
              <a:gd name="connsiteY2" fmla="*/ 1388932 h 5467043"/>
              <a:gd name="connsiteX3" fmla="*/ 3120446 w 5505912"/>
              <a:gd name="connsiteY3" fmla="*/ 1741709 h 5467043"/>
              <a:gd name="connsiteX4" fmla="*/ 3049890 w 5505912"/>
              <a:gd name="connsiteY4" fmla="*/ 2080376 h 5467043"/>
              <a:gd name="connsiteX5" fmla="*/ 3021668 w 5505912"/>
              <a:gd name="connsiteY5" fmla="*/ 2320265 h 5467043"/>
              <a:gd name="connsiteX6" fmla="*/ 2951112 w 5505912"/>
              <a:gd name="connsiteY6" fmla="*/ 2419043 h 5467043"/>
              <a:gd name="connsiteX7" fmla="*/ 2852334 w 5505912"/>
              <a:gd name="connsiteY7" fmla="*/ 2517820 h 5467043"/>
              <a:gd name="connsiteX8" fmla="*/ 2654779 w 5505912"/>
              <a:gd name="connsiteY8" fmla="*/ 2687154 h 5467043"/>
              <a:gd name="connsiteX9" fmla="*/ 2330223 w 5505912"/>
              <a:gd name="connsiteY9" fmla="*/ 2955265 h 5467043"/>
              <a:gd name="connsiteX10" fmla="*/ 2118557 w 5505912"/>
              <a:gd name="connsiteY10" fmla="*/ 3039932 h 5467043"/>
              <a:gd name="connsiteX11" fmla="*/ 2033890 w 5505912"/>
              <a:gd name="connsiteY11" fmla="*/ 3054043 h 5467043"/>
              <a:gd name="connsiteX12" fmla="*/ 1723446 w 5505912"/>
              <a:gd name="connsiteY12" fmla="*/ 3096376 h 5467043"/>
              <a:gd name="connsiteX13" fmla="*/ 1286001 w 5505912"/>
              <a:gd name="connsiteY13" fmla="*/ 3138709 h 5467043"/>
              <a:gd name="connsiteX14" fmla="*/ 1017890 w 5505912"/>
              <a:gd name="connsiteY14" fmla="*/ 3181043 h 5467043"/>
              <a:gd name="connsiteX15" fmla="*/ 749779 w 5505912"/>
              <a:gd name="connsiteY15" fmla="*/ 3223376 h 5467043"/>
              <a:gd name="connsiteX16" fmla="*/ 651001 w 5505912"/>
              <a:gd name="connsiteY16" fmla="*/ 3293932 h 5467043"/>
              <a:gd name="connsiteX17" fmla="*/ 453446 w 5505912"/>
              <a:gd name="connsiteY17" fmla="*/ 3406820 h 5467043"/>
              <a:gd name="connsiteX18" fmla="*/ 340557 w 5505912"/>
              <a:gd name="connsiteY18" fmla="*/ 3491487 h 5467043"/>
              <a:gd name="connsiteX19" fmla="*/ 171223 w 5505912"/>
              <a:gd name="connsiteY19" fmla="*/ 3703154 h 5467043"/>
              <a:gd name="connsiteX20" fmla="*/ 157112 w 5505912"/>
              <a:gd name="connsiteY20" fmla="*/ 3759598 h 5467043"/>
              <a:gd name="connsiteX21" fmla="*/ 16001 w 5505912"/>
              <a:gd name="connsiteY21" fmla="*/ 4070043 h 5467043"/>
              <a:gd name="connsiteX22" fmla="*/ 1890 w 5505912"/>
              <a:gd name="connsiteY22" fmla="*/ 4267598 h 5467043"/>
              <a:gd name="connsiteX23" fmla="*/ 72446 w 5505912"/>
              <a:gd name="connsiteY23" fmla="*/ 4563932 h 5467043"/>
              <a:gd name="connsiteX24" fmla="*/ 241779 w 5505912"/>
              <a:gd name="connsiteY24" fmla="*/ 4747376 h 5467043"/>
              <a:gd name="connsiteX25" fmla="*/ 524001 w 5505912"/>
              <a:gd name="connsiteY25" fmla="*/ 4959043 h 5467043"/>
              <a:gd name="connsiteX26" fmla="*/ 763890 w 5505912"/>
              <a:gd name="connsiteY26" fmla="*/ 5071932 h 5467043"/>
              <a:gd name="connsiteX27" fmla="*/ 1102557 w 5505912"/>
              <a:gd name="connsiteY27" fmla="*/ 5255376 h 5467043"/>
              <a:gd name="connsiteX28" fmla="*/ 1427112 w 5505912"/>
              <a:gd name="connsiteY28" fmla="*/ 5396487 h 5467043"/>
              <a:gd name="connsiteX29" fmla="*/ 1667001 w 5505912"/>
              <a:gd name="connsiteY29" fmla="*/ 5438820 h 5467043"/>
              <a:gd name="connsiteX30" fmla="*/ 2287890 w 5505912"/>
              <a:gd name="connsiteY30" fmla="*/ 5467043 h 5467043"/>
              <a:gd name="connsiteX31" fmla="*/ 3021668 w 5505912"/>
              <a:gd name="connsiteY31" fmla="*/ 5438820 h 5467043"/>
              <a:gd name="connsiteX32" fmla="*/ 3402668 w 5505912"/>
              <a:gd name="connsiteY32" fmla="*/ 5227154 h 5467043"/>
              <a:gd name="connsiteX33" fmla="*/ 3487334 w 5505912"/>
              <a:gd name="connsiteY33" fmla="*/ 5142487 h 5467043"/>
              <a:gd name="connsiteX34" fmla="*/ 3529668 w 5505912"/>
              <a:gd name="connsiteY34" fmla="*/ 4973154 h 5467043"/>
              <a:gd name="connsiteX35" fmla="*/ 3600223 w 5505912"/>
              <a:gd name="connsiteY35" fmla="*/ 4465154 h 5467043"/>
              <a:gd name="connsiteX36" fmla="*/ 3670779 w 5505912"/>
              <a:gd name="connsiteY36" fmla="*/ 4309932 h 5467043"/>
              <a:gd name="connsiteX37" fmla="*/ 3741334 w 5505912"/>
              <a:gd name="connsiteY37" fmla="*/ 4182932 h 5467043"/>
              <a:gd name="connsiteX38" fmla="*/ 4065890 w 5505912"/>
              <a:gd name="connsiteY38" fmla="*/ 3943043 h 5467043"/>
              <a:gd name="connsiteX39" fmla="*/ 4122334 w 5505912"/>
              <a:gd name="connsiteY39" fmla="*/ 3900709 h 5467043"/>
              <a:gd name="connsiteX40" fmla="*/ 4291668 w 5505912"/>
              <a:gd name="connsiteY40" fmla="*/ 3816043 h 5467043"/>
              <a:gd name="connsiteX41" fmla="*/ 4517446 w 5505912"/>
              <a:gd name="connsiteY41" fmla="*/ 3689043 h 5467043"/>
              <a:gd name="connsiteX42" fmla="*/ 4715001 w 5505912"/>
              <a:gd name="connsiteY42" fmla="*/ 3576154 h 5467043"/>
              <a:gd name="connsiteX43" fmla="*/ 4870223 w 5505912"/>
              <a:gd name="connsiteY43" fmla="*/ 3477376 h 5467043"/>
              <a:gd name="connsiteX44" fmla="*/ 5237112 w 5505912"/>
              <a:gd name="connsiteY44" fmla="*/ 3293932 h 5467043"/>
              <a:gd name="connsiteX45" fmla="*/ 5350001 w 5505912"/>
              <a:gd name="connsiteY45" fmla="*/ 3096376 h 5467043"/>
              <a:gd name="connsiteX46" fmla="*/ 5420557 w 5505912"/>
              <a:gd name="connsiteY46" fmla="*/ 2658932 h 5467043"/>
              <a:gd name="connsiteX47" fmla="*/ 5505223 w 5505912"/>
              <a:gd name="connsiteY47" fmla="*/ 2235598 h 5467043"/>
              <a:gd name="connsiteX48" fmla="*/ 5462890 w 5505912"/>
              <a:gd name="connsiteY48" fmla="*/ 1628820 h 5467043"/>
              <a:gd name="connsiteX49" fmla="*/ 5448779 w 5505912"/>
              <a:gd name="connsiteY49" fmla="*/ 909154 h 5467043"/>
              <a:gd name="connsiteX50" fmla="*/ 5420557 w 5505912"/>
              <a:gd name="connsiteY50" fmla="*/ 824487 h 5467043"/>
              <a:gd name="connsiteX51" fmla="*/ 5293557 w 5505912"/>
              <a:gd name="connsiteY51" fmla="*/ 485820 h 5467043"/>
              <a:gd name="connsiteX52" fmla="*/ 5138334 w 5505912"/>
              <a:gd name="connsiteY52" fmla="*/ 372932 h 5467043"/>
              <a:gd name="connsiteX53" fmla="*/ 4700889 w 5505912"/>
              <a:gd name="connsiteY53" fmla="*/ 6042 h 5467043"/>
              <a:gd name="connsiteX54" fmla="*/ 4164668 w 5505912"/>
              <a:gd name="connsiteY54" fmla="*/ 133043 h 5467043"/>
              <a:gd name="connsiteX55" fmla="*/ 3600223 w 5505912"/>
              <a:gd name="connsiteY55" fmla="*/ 316487 h 5467043"/>
              <a:gd name="connsiteX56" fmla="*/ 3473223 w 5505912"/>
              <a:gd name="connsiteY56" fmla="*/ 372932 h 5467043"/>
              <a:gd name="connsiteX57" fmla="*/ 3318001 w 5505912"/>
              <a:gd name="connsiteY57" fmla="*/ 612820 h 5467043"/>
              <a:gd name="connsiteX58" fmla="*/ 3148668 w 5505912"/>
              <a:gd name="connsiteY58" fmla="*/ 1134931 h 5467043"/>
              <a:gd name="connsiteX0" fmla="*/ 3162779 w 5505912"/>
              <a:gd name="connsiteY0" fmla="*/ 1077094 h 5479761"/>
              <a:gd name="connsiteX1" fmla="*/ 3162779 w 5505912"/>
              <a:gd name="connsiteY1" fmla="*/ 1077094 h 5479761"/>
              <a:gd name="connsiteX2" fmla="*/ 3134557 w 5505912"/>
              <a:gd name="connsiteY2" fmla="*/ 1401650 h 5479761"/>
              <a:gd name="connsiteX3" fmla="*/ 3120446 w 5505912"/>
              <a:gd name="connsiteY3" fmla="*/ 1754427 h 5479761"/>
              <a:gd name="connsiteX4" fmla="*/ 3049890 w 5505912"/>
              <a:gd name="connsiteY4" fmla="*/ 2093094 h 5479761"/>
              <a:gd name="connsiteX5" fmla="*/ 3021668 w 5505912"/>
              <a:gd name="connsiteY5" fmla="*/ 2332983 h 5479761"/>
              <a:gd name="connsiteX6" fmla="*/ 2951112 w 5505912"/>
              <a:gd name="connsiteY6" fmla="*/ 2431761 h 5479761"/>
              <a:gd name="connsiteX7" fmla="*/ 2852334 w 5505912"/>
              <a:gd name="connsiteY7" fmla="*/ 2530538 h 5479761"/>
              <a:gd name="connsiteX8" fmla="*/ 2654779 w 5505912"/>
              <a:gd name="connsiteY8" fmla="*/ 2699872 h 5479761"/>
              <a:gd name="connsiteX9" fmla="*/ 2330223 w 5505912"/>
              <a:gd name="connsiteY9" fmla="*/ 2967983 h 5479761"/>
              <a:gd name="connsiteX10" fmla="*/ 2118557 w 5505912"/>
              <a:gd name="connsiteY10" fmla="*/ 3052650 h 5479761"/>
              <a:gd name="connsiteX11" fmla="*/ 2033890 w 5505912"/>
              <a:gd name="connsiteY11" fmla="*/ 3066761 h 5479761"/>
              <a:gd name="connsiteX12" fmla="*/ 1723446 w 5505912"/>
              <a:gd name="connsiteY12" fmla="*/ 3109094 h 5479761"/>
              <a:gd name="connsiteX13" fmla="*/ 1286001 w 5505912"/>
              <a:gd name="connsiteY13" fmla="*/ 3151427 h 5479761"/>
              <a:gd name="connsiteX14" fmla="*/ 1017890 w 5505912"/>
              <a:gd name="connsiteY14" fmla="*/ 3193761 h 5479761"/>
              <a:gd name="connsiteX15" fmla="*/ 749779 w 5505912"/>
              <a:gd name="connsiteY15" fmla="*/ 3236094 h 5479761"/>
              <a:gd name="connsiteX16" fmla="*/ 651001 w 5505912"/>
              <a:gd name="connsiteY16" fmla="*/ 3306650 h 5479761"/>
              <a:gd name="connsiteX17" fmla="*/ 453446 w 5505912"/>
              <a:gd name="connsiteY17" fmla="*/ 3419538 h 5479761"/>
              <a:gd name="connsiteX18" fmla="*/ 340557 w 5505912"/>
              <a:gd name="connsiteY18" fmla="*/ 3504205 h 5479761"/>
              <a:gd name="connsiteX19" fmla="*/ 171223 w 5505912"/>
              <a:gd name="connsiteY19" fmla="*/ 3715872 h 5479761"/>
              <a:gd name="connsiteX20" fmla="*/ 157112 w 5505912"/>
              <a:gd name="connsiteY20" fmla="*/ 3772316 h 5479761"/>
              <a:gd name="connsiteX21" fmla="*/ 16001 w 5505912"/>
              <a:gd name="connsiteY21" fmla="*/ 4082761 h 5479761"/>
              <a:gd name="connsiteX22" fmla="*/ 1890 w 5505912"/>
              <a:gd name="connsiteY22" fmla="*/ 4280316 h 5479761"/>
              <a:gd name="connsiteX23" fmla="*/ 72446 w 5505912"/>
              <a:gd name="connsiteY23" fmla="*/ 4576650 h 5479761"/>
              <a:gd name="connsiteX24" fmla="*/ 241779 w 5505912"/>
              <a:gd name="connsiteY24" fmla="*/ 4760094 h 5479761"/>
              <a:gd name="connsiteX25" fmla="*/ 524001 w 5505912"/>
              <a:gd name="connsiteY25" fmla="*/ 4971761 h 5479761"/>
              <a:gd name="connsiteX26" fmla="*/ 763890 w 5505912"/>
              <a:gd name="connsiteY26" fmla="*/ 5084650 h 5479761"/>
              <a:gd name="connsiteX27" fmla="*/ 1102557 w 5505912"/>
              <a:gd name="connsiteY27" fmla="*/ 5268094 h 5479761"/>
              <a:gd name="connsiteX28" fmla="*/ 1427112 w 5505912"/>
              <a:gd name="connsiteY28" fmla="*/ 5409205 h 5479761"/>
              <a:gd name="connsiteX29" fmla="*/ 1667001 w 5505912"/>
              <a:gd name="connsiteY29" fmla="*/ 5451538 h 5479761"/>
              <a:gd name="connsiteX30" fmla="*/ 2287890 w 5505912"/>
              <a:gd name="connsiteY30" fmla="*/ 5479761 h 5479761"/>
              <a:gd name="connsiteX31" fmla="*/ 3021668 w 5505912"/>
              <a:gd name="connsiteY31" fmla="*/ 5451538 h 5479761"/>
              <a:gd name="connsiteX32" fmla="*/ 3402668 w 5505912"/>
              <a:gd name="connsiteY32" fmla="*/ 5239872 h 5479761"/>
              <a:gd name="connsiteX33" fmla="*/ 3487334 w 5505912"/>
              <a:gd name="connsiteY33" fmla="*/ 5155205 h 5479761"/>
              <a:gd name="connsiteX34" fmla="*/ 3529668 w 5505912"/>
              <a:gd name="connsiteY34" fmla="*/ 4985872 h 5479761"/>
              <a:gd name="connsiteX35" fmla="*/ 3600223 w 5505912"/>
              <a:gd name="connsiteY35" fmla="*/ 4477872 h 5479761"/>
              <a:gd name="connsiteX36" fmla="*/ 3670779 w 5505912"/>
              <a:gd name="connsiteY36" fmla="*/ 4322650 h 5479761"/>
              <a:gd name="connsiteX37" fmla="*/ 3741334 w 5505912"/>
              <a:gd name="connsiteY37" fmla="*/ 4195650 h 5479761"/>
              <a:gd name="connsiteX38" fmla="*/ 4065890 w 5505912"/>
              <a:gd name="connsiteY38" fmla="*/ 3955761 h 5479761"/>
              <a:gd name="connsiteX39" fmla="*/ 4122334 w 5505912"/>
              <a:gd name="connsiteY39" fmla="*/ 3913427 h 5479761"/>
              <a:gd name="connsiteX40" fmla="*/ 4291668 w 5505912"/>
              <a:gd name="connsiteY40" fmla="*/ 3828761 h 5479761"/>
              <a:gd name="connsiteX41" fmla="*/ 4517446 w 5505912"/>
              <a:gd name="connsiteY41" fmla="*/ 3701761 h 5479761"/>
              <a:gd name="connsiteX42" fmla="*/ 4715001 w 5505912"/>
              <a:gd name="connsiteY42" fmla="*/ 3588872 h 5479761"/>
              <a:gd name="connsiteX43" fmla="*/ 4870223 w 5505912"/>
              <a:gd name="connsiteY43" fmla="*/ 3490094 h 5479761"/>
              <a:gd name="connsiteX44" fmla="*/ 5237112 w 5505912"/>
              <a:gd name="connsiteY44" fmla="*/ 3306650 h 5479761"/>
              <a:gd name="connsiteX45" fmla="*/ 5350001 w 5505912"/>
              <a:gd name="connsiteY45" fmla="*/ 3109094 h 5479761"/>
              <a:gd name="connsiteX46" fmla="*/ 5420557 w 5505912"/>
              <a:gd name="connsiteY46" fmla="*/ 2671650 h 5479761"/>
              <a:gd name="connsiteX47" fmla="*/ 5505223 w 5505912"/>
              <a:gd name="connsiteY47" fmla="*/ 2248316 h 5479761"/>
              <a:gd name="connsiteX48" fmla="*/ 5462890 w 5505912"/>
              <a:gd name="connsiteY48" fmla="*/ 1641538 h 5479761"/>
              <a:gd name="connsiteX49" fmla="*/ 5448779 w 5505912"/>
              <a:gd name="connsiteY49" fmla="*/ 921872 h 5479761"/>
              <a:gd name="connsiteX50" fmla="*/ 5420557 w 5505912"/>
              <a:gd name="connsiteY50" fmla="*/ 837205 h 5479761"/>
              <a:gd name="connsiteX51" fmla="*/ 5293557 w 5505912"/>
              <a:gd name="connsiteY51" fmla="*/ 498538 h 5479761"/>
              <a:gd name="connsiteX52" fmla="*/ 5138334 w 5505912"/>
              <a:gd name="connsiteY52" fmla="*/ 385650 h 5479761"/>
              <a:gd name="connsiteX53" fmla="*/ 4700889 w 5505912"/>
              <a:gd name="connsiteY53" fmla="*/ 18760 h 5479761"/>
              <a:gd name="connsiteX54" fmla="*/ 4164668 w 5505912"/>
              <a:gd name="connsiteY54" fmla="*/ 46983 h 5479761"/>
              <a:gd name="connsiteX55" fmla="*/ 3600223 w 5505912"/>
              <a:gd name="connsiteY55" fmla="*/ 329205 h 5479761"/>
              <a:gd name="connsiteX56" fmla="*/ 3473223 w 5505912"/>
              <a:gd name="connsiteY56" fmla="*/ 385650 h 5479761"/>
              <a:gd name="connsiteX57" fmla="*/ 3318001 w 5505912"/>
              <a:gd name="connsiteY57" fmla="*/ 625538 h 5479761"/>
              <a:gd name="connsiteX58" fmla="*/ 3148668 w 5505912"/>
              <a:gd name="connsiteY58" fmla="*/ 1147649 h 5479761"/>
              <a:gd name="connsiteX0" fmla="*/ 3162779 w 5505912"/>
              <a:gd name="connsiteY0" fmla="*/ 1079139 h 5481806"/>
              <a:gd name="connsiteX1" fmla="*/ 3162779 w 5505912"/>
              <a:gd name="connsiteY1" fmla="*/ 1079139 h 5481806"/>
              <a:gd name="connsiteX2" fmla="*/ 3134557 w 5505912"/>
              <a:gd name="connsiteY2" fmla="*/ 1403695 h 5481806"/>
              <a:gd name="connsiteX3" fmla="*/ 3120446 w 5505912"/>
              <a:gd name="connsiteY3" fmla="*/ 1756472 h 5481806"/>
              <a:gd name="connsiteX4" fmla="*/ 3049890 w 5505912"/>
              <a:gd name="connsiteY4" fmla="*/ 2095139 h 5481806"/>
              <a:gd name="connsiteX5" fmla="*/ 3021668 w 5505912"/>
              <a:gd name="connsiteY5" fmla="*/ 2335028 h 5481806"/>
              <a:gd name="connsiteX6" fmla="*/ 2951112 w 5505912"/>
              <a:gd name="connsiteY6" fmla="*/ 2433806 h 5481806"/>
              <a:gd name="connsiteX7" fmla="*/ 2852334 w 5505912"/>
              <a:gd name="connsiteY7" fmla="*/ 2532583 h 5481806"/>
              <a:gd name="connsiteX8" fmla="*/ 2654779 w 5505912"/>
              <a:gd name="connsiteY8" fmla="*/ 2701917 h 5481806"/>
              <a:gd name="connsiteX9" fmla="*/ 2330223 w 5505912"/>
              <a:gd name="connsiteY9" fmla="*/ 2970028 h 5481806"/>
              <a:gd name="connsiteX10" fmla="*/ 2118557 w 5505912"/>
              <a:gd name="connsiteY10" fmla="*/ 3054695 h 5481806"/>
              <a:gd name="connsiteX11" fmla="*/ 2033890 w 5505912"/>
              <a:gd name="connsiteY11" fmla="*/ 3068806 h 5481806"/>
              <a:gd name="connsiteX12" fmla="*/ 1723446 w 5505912"/>
              <a:gd name="connsiteY12" fmla="*/ 3111139 h 5481806"/>
              <a:gd name="connsiteX13" fmla="*/ 1286001 w 5505912"/>
              <a:gd name="connsiteY13" fmla="*/ 3153472 h 5481806"/>
              <a:gd name="connsiteX14" fmla="*/ 1017890 w 5505912"/>
              <a:gd name="connsiteY14" fmla="*/ 3195806 h 5481806"/>
              <a:gd name="connsiteX15" fmla="*/ 749779 w 5505912"/>
              <a:gd name="connsiteY15" fmla="*/ 3238139 h 5481806"/>
              <a:gd name="connsiteX16" fmla="*/ 651001 w 5505912"/>
              <a:gd name="connsiteY16" fmla="*/ 3308695 h 5481806"/>
              <a:gd name="connsiteX17" fmla="*/ 453446 w 5505912"/>
              <a:gd name="connsiteY17" fmla="*/ 3421583 h 5481806"/>
              <a:gd name="connsiteX18" fmla="*/ 340557 w 5505912"/>
              <a:gd name="connsiteY18" fmla="*/ 3506250 h 5481806"/>
              <a:gd name="connsiteX19" fmla="*/ 171223 w 5505912"/>
              <a:gd name="connsiteY19" fmla="*/ 3717917 h 5481806"/>
              <a:gd name="connsiteX20" fmla="*/ 157112 w 5505912"/>
              <a:gd name="connsiteY20" fmla="*/ 3774361 h 5481806"/>
              <a:gd name="connsiteX21" fmla="*/ 16001 w 5505912"/>
              <a:gd name="connsiteY21" fmla="*/ 4084806 h 5481806"/>
              <a:gd name="connsiteX22" fmla="*/ 1890 w 5505912"/>
              <a:gd name="connsiteY22" fmla="*/ 4282361 h 5481806"/>
              <a:gd name="connsiteX23" fmla="*/ 72446 w 5505912"/>
              <a:gd name="connsiteY23" fmla="*/ 4578695 h 5481806"/>
              <a:gd name="connsiteX24" fmla="*/ 241779 w 5505912"/>
              <a:gd name="connsiteY24" fmla="*/ 4762139 h 5481806"/>
              <a:gd name="connsiteX25" fmla="*/ 524001 w 5505912"/>
              <a:gd name="connsiteY25" fmla="*/ 4973806 h 5481806"/>
              <a:gd name="connsiteX26" fmla="*/ 763890 w 5505912"/>
              <a:gd name="connsiteY26" fmla="*/ 5086695 h 5481806"/>
              <a:gd name="connsiteX27" fmla="*/ 1102557 w 5505912"/>
              <a:gd name="connsiteY27" fmla="*/ 5270139 h 5481806"/>
              <a:gd name="connsiteX28" fmla="*/ 1427112 w 5505912"/>
              <a:gd name="connsiteY28" fmla="*/ 5411250 h 5481806"/>
              <a:gd name="connsiteX29" fmla="*/ 1667001 w 5505912"/>
              <a:gd name="connsiteY29" fmla="*/ 5453583 h 5481806"/>
              <a:gd name="connsiteX30" fmla="*/ 2287890 w 5505912"/>
              <a:gd name="connsiteY30" fmla="*/ 5481806 h 5481806"/>
              <a:gd name="connsiteX31" fmla="*/ 3021668 w 5505912"/>
              <a:gd name="connsiteY31" fmla="*/ 5453583 h 5481806"/>
              <a:gd name="connsiteX32" fmla="*/ 3402668 w 5505912"/>
              <a:gd name="connsiteY32" fmla="*/ 5241917 h 5481806"/>
              <a:gd name="connsiteX33" fmla="*/ 3487334 w 5505912"/>
              <a:gd name="connsiteY33" fmla="*/ 5157250 h 5481806"/>
              <a:gd name="connsiteX34" fmla="*/ 3529668 w 5505912"/>
              <a:gd name="connsiteY34" fmla="*/ 4987917 h 5481806"/>
              <a:gd name="connsiteX35" fmla="*/ 3600223 w 5505912"/>
              <a:gd name="connsiteY35" fmla="*/ 4479917 h 5481806"/>
              <a:gd name="connsiteX36" fmla="*/ 3670779 w 5505912"/>
              <a:gd name="connsiteY36" fmla="*/ 4324695 h 5481806"/>
              <a:gd name="connsiteX37" fmla="*/ 3741334 w 5505912"/>
              <a:gd name="connsiteY37" fmla="*/ 4197695 h 5481806"/>
              <a:gd name="connsiteX38" fmla="*/ 4065890 w 5505912"/>
              <a:gd name="connsiteY38" fmla="*/ 3957806 h 5481806"/>
              <a:gd name="connsiteX39" fmla="*/ 4122334 w 5505912"/>
              <a:gd name="connsiteY39" fmla="*/ 3915472 h 5481806"/>
              <a:gd name="connsiteX40" fmla="*/ 4291668 w 5505912"/>
              <a:gd name="connsiteY40" fmla="*/ 3830806 h 5481806"/>
              <a:gd name="connsiteX41" fmla="*/ 4517446 w 5505912"/>
              <a:gd name="connsiteY41" fmla="*/ 3703806 h 5481806"/>
              <a:gd name="connsiteX42" fmla="*/ 4715001 w 5505912"/>
              <a:gd name="connsiteY42" fmla="*/ 3590917 h 5481806"/>
              <a:gd name="connsiteX43" fmla="*/ 4870223 w 5505912"/>
              <a:gd name="connsiteY43" fmla="*/ 3492139 h 5481806"/>
              <a:gd name="connsiteX44" fmla="*/ 5237112 w 5505912"/>
              <a:gd name="connsiteY44" fmla="*/ 3308695 h 5481806"/>
              <a:gd name="connsiteX45" fmla="*/ 5350001 w 5505912"/>
              <a:gd name="connsiteY45" fmla="*/ 3111139 h 5481806"/>
              <a:gd name="connsiteX46" fmla="*/ 5420557 w 5505912"/>
              <a:gd name="connsiteY46" fmla="*/ 2673695 h 5481806"/>
              <a:gd name="connsiteX47" fmla="*/ 5505223 w 5505912"/>
              <a:gd name="connsiteY47" fmla="*/ 2250361 h 5481806"/>
              <a:gd name="connsiteX48" fmla="*/ 5462890 w 5505912"/>
              <a:gd name="connsiteY48" fmla="*/ 1643583 h 5481806"/>
              <a:gd name="connsiteX49" fmla="*/ 5448779 w 5505912"/>
              <a:gd name="connsiteY49" fmla="*/ 923917 h 5481806"/>
              <a:gd name="connsiteX50" fmla="*/ 5420557 w 5505912"/>
              <a:gd name="connsiteY50" fmla="*/ 839250 h 5481806"/>
              <a:gd name="connsiteX51" fmla="*/ 5293557 w 5505912"/>
              <a:gd name="connsiteY51" fmla="*/ 500583 h 5481806"/>
              <a:gd name="connsiteX52" fmla="*/ 5138334 w 5505912"/>
              <a:gd name="connsiteY52" fmla="*/ 387695 h 5481806"/>
              <a:gd name="connsiteX53" fmla="*/ 4700889 w 5505912"/>
              <a:gd name="connsiteY53" fmla="*/ 20805 h 5481806"/>
              <a:gd name="connsiteX54" fmla="*/ 4164668 w 5505912"/>
              <a:gd name="connsiteY54" fmla="*/ 49028 h 5481806"/>
              <a:gd name="connsiteX55" fmla="*/ 3600223 w 5505912"/>
              <a:gd name="connsiteY55" fmla="*/ 331250 h 5481806"/>
              <a:gd name="connsiteX56" fmla="*/ 3473223 w 5505912"/>
              <a:gd name="connsiteY56" fmla="*/ 387695 h 5481806"/>
              <a:gd name="connsiteX57" fmla="*/ 3318001 w 5505912"/>
              <a:gd name="connsiteY57" fmla="*/ 627583 h 5481806"/>
              <a:gd name="connsiteX58" fmla="*/ 3148668 w 5505912"/>
              <a:gd name="connsiteY58" fmla="*/ 1149694 h 5481806"/>
              <a:gd name="connsiteX0" fmla="*/ 3162779 w 5505912"/>
              <a:gd name="connsiteY0" fmla="*/ 1079139 h 5481806"/>
              <a:gd name="connsiteX1" fmla="*/ 3162779 w 5505912"/>
              <a:gd name="connsiteY1" fmla="*/ 1079139 h 5481806"/>
              <a:gd name="connsiteX2" fmla="*/ 3134557 w 5505912"/>
              <a:gd name="connsiteY2" fmla="*/ 1403695 h 5481806"/>
              <a:gd name="connsiteX3" fmla="*/ 3120446 w 5505912"/>
              <a:gd name="connsiteY3" fmla="*/ 1756472 h 5481806"/>
              <a:gd name="connsiteX4" fmla="*/ 3049890 w 5505912"/>
              <a:gd name="connsiteY4" fmla="*/ 2095139 h 5481806"/>
              <a:gd name="connsiteX5" fmla="*/ 3021668 w 5505912"/>
              <a:gd name="connsiteY5" fmla="*/ 2335028 h 5481806"/>
              <a:gd name="connsiteX6" fmla="*/ 2951112 w 5505912"/>
              <a:gd name="connsiteY6" fmla="*/ 2433806 h 5481806"/>
              <a:gd name="connsiteX7" fmla="*/ 2852334 w 5505912"/>
              <a:gd name="connsiteY7" fmla="*/ 2532583 h 5481806"/>
              <a:gd name="connsiteX8" fmla="*/ 2654779 w 5505912"/>
              <a:gd name="connsiteY8" fmla="*/ 2701917 h 5481806"/>
              <a:gd name="connsiteX9" fmla="*/ 2330223 w 5505912"/>
              <a:gd name="connsiteY9" fmla="*/ 2970028 h 5481806"/>
              <a:gd name="connsiteX10" fmla="*/ 2118557 w 5505912"/>
              <a:gd name="connsiteY10" fmla="*/ 3054695 h 5481806"/>
              <a:gd name="connsiteX11" fmla="*/ 2033890 w 5505912"/>
              <a:gd name="connsiteY11" fmla="*/ 3068806 h 5481806"/>
              <a:gd name="connsiteX12" fmla="*/ 1723446 w 5505912"/>
              <a:gd name="connsiteY12" fmla="*/ 3111139 h 5481806"/>
              <a:gd name="connsiteX13" fmla="*/ 1286001 w 5505912"/>
              <a:gd name="connsiteY13" fmla="*/ 3153472 h 5481806"/>
              <a:gd name="connsiteX14" fmla="*/ 1017890 w 5505912"/>
              <a:gd name="connsiteY14" fmla="*/ 3195806 h 5481806"/>
              <a:gd name="connsiteX15" fmla="*/ 749779 w 5505912"/>
              <a:gd name="connsiteY15" fmla="*/ 3238139 h 5481806"/>
              <a:gd name="connsiteX16" fmla="*/ 651001 w 5505912"/>
              <a:gd name="connsiteY16" fmla="*/ 3308695 h 5481806"/>
              <a:gd name="connsiteX17" fmla="*/ 453446 w 5505912"/>
              <a:gd name="connsiteY17" fmla="*/ 3421583 h 5481806"/>
              <a:gd name="connsiteX18" fmla="*/ 340557 w 5505912"/>
              <a:gd name="connsiteY18" fmla="*/ 3506250 h 5481806"/>
              <a:gd name="connsiteX19" fmla="*/ 171223 w 5505912"/>
              <a:gd name="connsiteY19" fmla="*/ 3717917 h 5481806"/>
              <a:gd name="connsiteX20" fmla="*/ 157112 w 5505912"/>
              <a:gd name="connsiteY20" fmla="*/ 3774361 h 5481806"/>
              <a:gd name="connsiteX21" fmla="*/ 16001 w 5505912"/>
              <a:gd name="connsiteY21" fmla="*/ 4084806 h 5481806"/>
              <a:gd name="connsiteX22" fmla="*/ 1890 w 5505912"/>
              <a:gd name="connsiteY22" fmla="*/ 4282361 h 5481806"/>
              <a:gd name="connsiteX23" fmla="*/ 72446 w 5505912"/>
              <a:gd name="connsiteY23" fmla="*/ 4578695 h 5481806"/>
              <a:gd name="connsiteX24" fmla="*/ 241779 w 5505912"/>
              <a:gd name="connsiteY24" fmla="*/ 4762139 h 5481806"/>
              <a:gd name="connsiteX25" fmla="*/ 524001 w 5505912"/>
              <a:gd name="connsiteY25" fmla="*/ 4973806 h 5481806"/>
              <a:gd name="connsiteX26" fmla="*/ 763890 w 5505912"/>
              <a:gd name="connsiteY26" fmla="*/ 5086695 h 5481806"/>
              <a:gd name="connsiteX27" fmla="*/ 1102557 w 5505912"/>
              <a:gd name="connsiteY27" fmla="*/ 5270139 h 5481806"/>
              <a:gd name="connsiteX28" fmla="*/ 1427112 w 5505912"/>
              <a:gd name="connsiteY28" fmla="*/ 5411250 h 5481806"/>
              <a:gd name="connsiteX29" fmla="*/ 1667001 w 5505912"/>
              <a:gd name="connsiteY29" fmla="*/ 5453583 h 5481806"/>
              <a:gd name="connsiteX30" fmla="*/ 2287890 w 5505912"/>
              <a:gd name="connsiteY30" fmla="*/ 5481806 h 5481806"/>
              <a:gd name="connsiteX31" fmla="*/ 3021668 w 5505912"/>
              <a:gd name="connsiteY31" fmla="*/ 5453583 h 5481806"/>
              <a:gd name="connsiteX32" fmla="*/ 3402668 w 5505912"/>
              <a:gd name="connsiteY32" fmla="*/ 5241917 h 5481806"/>
              <a:gd name="connsiteX33" fmla="*/ 3487334 w 5505912"/>
              <a:gd name="connsiteY33" fmla="*/ 5157250 h 5481806"/>
              <a:gd name="connsiteX34" fmla="*/ 3529668 w 5505912"/>
              <a:gd name="connsiteY34" fmla="*/ 4987917 h 5481806"/>
              <a:gd name="connsiteX35" fmla="*/ 3600223 w 5505912"/>
              <a:gd name="connsiteY35" fmla="*/ 4479917 h 5481806"/>
              <a:gd name="connsiteX36" fmla="*/ 3670779 w 5505912"/>
              <a:gd name="connsiteY36" fmla="*/ 4324695 h 5481806"/>
              <a:gd name="connsiteX37" fmla="*/ 3741334 w 5505912"/>
              <a:gd name="connsiteY37" fmla="*/ 4197695 h 5481806"/>
              <a:gd name="connsiteX38" fmla="*/ 4065890 w 5505912"/>
              <a:gd name="connsiteY38" fmla="*/ 3957806 h 5481806"/>
              <a:gd name="connsiteX39" fmla="*/ 4122334 w 5505912"/>
              <a:gd name="connsiteY39" fmla="*/ 3915472 h 5481806"/>
              <a:gd name="connsiteX40" fmla="*/ 4291668 w 5505912"/>
              <a:gd name="connsiteY40" fmla="*/ 3830806 h 5481806"/>
              <a:gd name="connsiteX41" fmla="*/ 4517446 w 5505912"/>
              <a:gd name="connsiteY41" fmla="*/ 3703806 h 5481806"/>
              <a:gd name="connsiteX42" fmla="*/ 4715001 w 5505912"/>
              <a:gd name="connsiteY42" fmla="*/ 3590917 h 5481806"/>
              <a:gd name="connsiteX43" fmla="*/ 4870223 w 5505912"/>
              <a:gd name="connsiteY43" fmla="*/ 3492139 h 5481806"/>
              <a:gd name="connsiteX44" fmla="*/ 5237112 w 5505912"/>
              <a:gd name="connsiteY44" fmla="*/ 3308695 h 5481806"/>
              <a:gd name="connsiteX45" fmla="*/ 5350001 w 5505912"/>
              <a:gd name="connsiteY45" fmla="*/ 3111139 h 5481806"/>
              <a:gd name="connsiteX46" fmla="*/ 5420557 w 5505912"/>
              <a:gd name="connsiteY46" fmla="*/ 2673695 h 5481806"/>
              <a:gd name="connsiteX47" fmla="*/ 5505223 w 5505912"/>
              <a:gd name="connsiteY47" fmla="*/ 2250361 h 5481806"/>
              <a:gd name="connsiteX48" fmla="*/ 5462890 w 5505912"/>
              <a:gd name="connsiteY48" fmla="*/ 1643583 h 5481806"/>
              <a:gd name="connsiteX49" fmla="*/ 5448779 w 5505912"/>
              <a:gd name="connsiteY49" fmla="*/ 923917 h 5481806"/>
              <a:gd name="connsiteX50" fmla="*/ 5420557 w 5505912"/>
              <a:gd name="connsiteY50" fmla="*/ 839250 h 5481806"/>
              <a:gd name="connsiteX51" fmla="*/ 5293557 w 5505912"/>
              <a:gd name="connsiteY51" fmla="*/ 500583 h 5481806"/>
              <a:gd name="connsiteX52" fmla="*/ 5138334 w 5505912"/>
              <a:gd name="connsiteY52" fmla="*/ 387695 h 5481806"/>
              <a:gd name="connsiteX53" fmla="*/ 4700889 w 5505912"/>
              <a:gd name="connsiteY53" fmla="*/ 20805 h 5481806"/>
              <a:gd name="connsiteX54" fmla="*/ 4164668 w 5505912"/>
              <a:gd name="connsiteY54" fmla="*/ 49028 h 5481806"/>
              <a:gd name="connsiteX55" fmla="*/ 3600223 w 5505912"/>
              <a:gd name="connsiteY55" fmla="*/ 331250 h 5481806"/>
              <a:gd name="connsiteX56" fmla="*/ 3473223 w 5505912"/>
              <a:gd name="connsiteY56" fmla="*/ 387695 h 5481806"/>
              <a:gd name="connsiteX57" fmla="*/ 3318001 w 5505912"/>
              <a:gd name="connsiteY57" fmla="*/ 627583 h 5481806"/>
              <a:gd name="connsiteX58" fmla="*/ 3148668 w 5505912"/>
              <a:gd name="connsiteY58" fmla="*/ 1149694 h 5481806"/>
              <a:gd name="connsiteX0" fmla="*/ 3162779 w 5505912"/>
              <a:gd name="connsiteY0" fmla="*/ 1079139 h 5481806"/>
              <a:gd name="connsiteX1" fmla="*/ 3162779 w 5505912"/>
              <a:gd name="connsiteY1" fmla="*/ 1079139 h 5481806"/>
              <a:gd name="connsiteX2" fmla="*/ 3134557 w 5505912"/>
              <a:gd name="connsiteY2" fmla="*/ 1403695 h 5481806"/>
              <a:gd name="connsiteX3" fmla="*/ 3120446 w 5505912"/>
              <a:gd name="connsiteY3" fmla="*/ 1756472 h 5481806"/>
              <a:gd name="connsiteX4" fmla="*/ 3049890 w 5505912"/>
              <a:gd name="connsiteY4" fmla="*/ 2095139 h 5481806"/>
              <a:gd name="connsiteX5" fmla="*/ 3021668 w 5505912"/>
              <a:gd name="connsiteY5" fmla="*/ 2335028 h 5481806"/>
              <a:gd name="connsiteX6" fmla="*/ 2951112 w 5505912"/>
              <a:gd name="connsiteY6" fmla="*/ 2433806 h 5481806"/>
              <a:gd name="connsiteX7" fmla="*/ 2852334 w 5505912"/>
              <a:gd name="connsiteY7" fmla="*/ 2532583 h 5481806"/>
              <a:gd name="connsiteX8" fmla="*/ 2654779 w 5505912"/>
              <a:gd name="connsiteY8" fmla="*/ 2701917 h 5481806"/>
              <a:gd name="connsiteX9" fmla="*/ 2330223 w 5505912"/>
              <a:gd name="connsiteY9" fmla="*/ 2970028 h 5481806"/>
              <a:gd name="connsiteX10" fmla="*/ 2118557 w 5505912"/>
              <a:gd name="connsiteY10" fmla="*/ 3054695 h 5481806"/>
              <a:gd name="connsiteX11" fmla="*/ 2033890 w 5505912"/>
              <a:gd name="connsiteY11" fmla="*/ 3068806 h 5481806"/>
              <a:gd name="connsiteX12" fmla="*/ 1723446 w 5505912"/>
              <a:gd name="connsiteY12" fmla="*/ 3111139 h 5481806"/>
              <a:gd name="connsiteX13" fmla="*/ 1286001 w 5505912"/>
              <a:gd name="connsiteY13" fmla="*/ 3153472 h 5481806"/>
              <a:gd name="connsiteX14" fmla="*/ 1017890 w 5505912"/>
              <a:gd name="connsiteY14" fmla="*/ 3195806 h 5481806"/>
              <a:gd name="connsiteX15" fmla="*/ 749779 w 5505912"/>
              <a:gd name="connsiteY15" fmla="*/ 3238139 h 5481806"/>
              <a:gd name="connsiteX16" fmla="*/ 651001 w 5505912"/>
              <a:gd name="connsiteY16" fmla="*/ 3308695 h 5481806"/>
              <a:gd name="connsiteX17" fmla="*/ 453446 w 5505912"/>
              <a:gd name="connsiteY17" fmla="*/ 3421583 h 5481806"/>
              <a:gd name="connsiteX18" fmla="*/ 340557 w 5505912"/>
              <a:gd name="connsiteY18" fmla="*/ 3506250 h 5481806"/>
              <a:gd name="connsiteX19" fmla="*/ 171223 w 5505912"/>
              <a:gd name="connsiteY19" fmla="*/ 3717917 h 5481806"/>
              <a:gd name="connsiteX20" fmla="*/ 157112 w 5505912"/>
              <a:gd name="connsiteY20" fmla="*/ 3774361 h 5481806"/>
              <a:gd name="connsiteX21" fmla="*/ 16001 w 5505912"/>
              <a:gd name="connsiteY21" fmla="*/ 4084806 h 5481806"/>
              <a:gd name="connsiteX22" fmla="*/ 1890 w 5505912"/>
              <a:gd name="connsiteY22" fmla="*/ 4282361 h 5481806"/>
              <a:gd name="connsiteX23" fmla="*/ 72446 w 5505912"/>
              <a:gd name="connsiteY23" fmla="*/ 4578695 h 5481806"/>
              <a:gd name="connsiteX24" fmla="*/ 241779 w 5505912"/>
              <a:gd name="connsiteY24" fmla="*/ 4762139 h 5481806"/>
              <a:gd name="connsiteX25" fmla="*/ 524001 w 5505912"/>
              <a:gd name="connsiteY25" fmla="*/ 4973806 h 5481806"/>
              <a:gd name="connsiteX26" fmla="*/ 763890 w 5505912"/>
              <a:gd name="connsiteY26" fmla="*/ 5086695 h 5481806"/>
              <a:gd name="connsiteX27" fmla="*/ 1102557 w 5505912"/>
              <a:gd name="connsiteY27" fmla="*/ 5270139 h 5481806"/>
              <a:gd name="connsiteX28" fmla="*/ 1427112 w 5505912"/>
              <a:gd name="connsiteY28" fmla="*/ 5411250 h 5481806"/>
              <a:gd name="connsiteX29" fmla="*/ 1667001 w 5505912"/>
              <a:gd name="connsiteY29" fmla="*/ 5453583 h 5481806"/>
              <a:gd name="connsiteX30" fmla="*/ 2287890 w 5505912"/>
              <a:gd name="connsiteY30" fmla="*/ 5481806 h 5481806"/>
              <a:gd name="connsiteX31" fmla="*/ 3021668 w 5505912"/>
              <a:gd name="connsiteY31" fmla="*/ 5453583 h 5481806"/>
              <a:gd name="connsiteX32" fmla="*/ 3402668 w 5505912"/>
              <a:gd name="connsiteY32" fmla="*/ 5241917 h 5481806"/>
              <a:gd name="connsiteX33" fmla="*/ 3487334 w 5505912"/>
              <a:gd name="connsiteY33" fmla="*/ 5157250 h 5481806"/>
              <a:gd name="connsiteX34" fmla="*/ 3529668 w 5505912"/>
              <a:gd name="connsiteY34" fmla="*/ 4987917 h 5481806"/>
              <a:gd name="connsiteX35" fmla="*/ 3600223 w 5505912"/>
              <a:gd name="connsiteY35" fmla="*/ 4479917 h 5481806"/>
              <a:gd name="connsiteX36" fmla="*/ 3670779 w 5505912"/>
              <a:gd name="connsiteY36" fmla="*/ 4324695 h 5481806"/>
              <a:gd name="connsiteX37" fmla="*/ 3741334 w 5505912"/>
              <a:gd name="connsiteY37" fmla="*/ 4197695 h 5481806"/>
              <a:gd name="connsiteX38" fmla="*/ 4065890 w 5505912"/>
              <a:gd name="connsiteY38" fmla="*/ 3957806 h 5481806"/>
              <a:gd name="connsiteX39" fmla="*/ 4122334 w 5505912"/>
              <a:gd name="connsiteY39" fmla="*/ 3915472 h 5481806"/>
              <a:gd name="connsiteX40" fmla="*/ 4291668 w 5505912"/>
              <a:gd name="connsiteY40" fmla="*/ 3830806 h 5481806"/>
              <a:gd name="connsiteX41" fmla="*/ 4517446 w 5505912"/>
              <a:gd name="connsiteY41" fmla="*/ 3703806 h 5481806"/>
              <a:gd name="connsiteX42" fmla="*/ 4715001 w 5505912"/>
              <a:gd name="connsiteY42" fmla="*/ 3590917 h 5481806"/>
              <a:gd name="connsiteX43" fmla="*/ 4870223 w 5505912"/>
              <a:gd name="connsiteY43" fmla="*/ 3492139 h 5481806"/>
              <a:gd name="connsiteX44" fmla="*/ 5237112 w 5505912"/>
              <a:gd name="connsiteY44" fmla="*/ 3308695 h 5481806"/>
              <a:gd name="connsiteX45" fmla="*/ 5350001 w 5505912"/>
              <a:gd name="connsiteY45" fmla="*/ 3111139 h 5481806"/>
              <a:gd name="connsiteX46" fmla="*/ 5420557 w 5505912"/>
              <a:gd name="connsiteY46" fmla="*/ 2673695 h 5481806"/>
              <a:gd name="connsiteX47" fmla="*/ 5505223 w 5505912"/>
              <a:gd name="connsiteY47" fmla="*/ 2250361 h 5481806"/>
              <a:gd name="connsiteX48" fmla="*/ 5462890 w 5505912"/>
              <a:gd name="connsiteY48" fmla="*/ 1643583 h 5481806"/>
              <a:gd name="connsiteX49" fmla="*/ 5448779 w 5505912"/>
              <a:gd name="connsiteY49" fmla="*/ 923917 h 5481806"/>
              <a:gd name="connsiteX50" fmla="*/ 5420557 w 5505912"/>
              <a:gd name="connsiteY50" fmla="*/ 839250 h 5481806"/>
              <a:gd name="connsiteX51" fmla="*/ 5293557 w 5505912"/>
              <a:gd name="connsiteY51" fmla="*/ 500583 h 5481806"/>
              <a:gd name="connsiteX52" fmla="*/ 5138334 w 5505912"/>
              <a:gd name="connsiteY52" fmla="*/ 387695 h 5481806"/>
              <a:gd name="connsiteX53" fmla="*/ 4700889 w 5505912"/>
              <a:gd name="connsiteY53" fmla="*/ 20805 h 5481806"/>
              <a:gd name="connsiteX54" fmla="*/ 4164668 w 5505912"/>
              <a:gd name="connsiteY54" fmla="*/ 49028 h 5481806"/>
              <a:gd name="connsiteX55" fmla="*/ 3600223 w 5505912"/>
              <a:gd name="connsiteY55" fmla="*/ 331250 h 5481806"/>
              <a:gd name="connsiteX56" fmla="*/ 3473223 w 5505912"/>
              <a:gd name="connsiteY56" fmla="*/ 387695 h 5481806"/>
              <a:gd name="connsiteX57" fmla="*/ 3318001 w 5505912"/>
              <a:gd name="connsiteY57" fmla="*/ 627583 h 5481806"/>
              <a:gd name="connsiteX58" fmla="*/ 3148668 w 5505912"/>
              <a:gd name="connsiteY58" fmla="*/ 1149694 h 5481806"/>
              <a:gd name="connsiteX0" fmla="*/ 3162779 w 5505912"/>
              <a:gd name="connsiteY0" fmla="*/ 1069168 h 5471835"/>
              <a:gd name="connsiteX1" fmla="*/ 3162779 w 5505912"/>
              <a:gd name="connsiteY1" fmla="*/ 1069168 h 5471835"/>
              <a:gd name="connsiteX2" fmla="*/ 3134557 w 5505912"/>
              <a:gd name="connsiteY2" fmla="*/ 1393724 h 5471835"/>
              <a:gd name="connsiteX3" fmla="*/ 3120446 w 5505912"/>
              <a:gd name="connsiteY3" fmla="*/ 1746501 h 5471835"/>
              <a:gd name="connsiteX4" fmla="*/ 3049890 w 5505912"/>
              <a:gd name="connsiteY4" fmla="*/ 2085168 h 5471835"/>
              <a:gd name="connsiteX5" fmla="*/ 3021668 w 5505912"/>
              <a:gd name="connsiteY5" fmla="*/ 2325057 h 5471835"/>
              <a:gd name="connsiteX6" fmla="*/ 2951112 w 5505912"/>
              <a:gd name="connsiteY6" fmla="*/ 2423835 h 5471835"/>
              <a:gd name="connsiteX7" fmla="*/ 2852334 w 5505912"/>
              <a:gd name="connsiteY7" fmla="*/ 2522612 h 5471835"/>
              <a:gd name="connsiteX8" fmla="*/ 2654779 w 5505912"/>
              <a:gd name="connsiteY8" fmla="*/ 2691946 h 5471835"/>
              <a:gd name="connsiteX9" fmla="*/ 2330223 w 5505912"/>
              <a:gd name="connsiteY9" fmla="*/ 2960057 h 5471835"/>
              <a:gd name="connsiteX10" fmla="*/ 2118557 w 5505912"/>
              <a:gd name="connsiteY10" fmla="*/ 3044724 h 5471835"/>
              <a:gd name="connsiteX11" fmla="*/ 2033890 w 5505912"/>
              <a:gd name="connsiteY11" fmla="*/ 3058835 h 5471835"/>
              <a:gd name="connsiteX12" fmla="*/ 1723446 w 5505912"/>
              <a:gd name="connsiteY12" fmla="*/ 3101168 h 5471835"/>
              <a:gd name="connsiteX13" fmla="*/ 1286001 w 5505912"/>
              <a:gd name="connsiteY13" fmla="*/ 3143501 h 5471835"/>
              <a:gd name="connsiteX14" fmla="*/ 1017890 w 5505912"/>
              <a:gd name="connsiteY14" fmla="*/ 3185835 h 5471835"/>
              <a:gd name="connsiteX15" fmla="*/ 749779 w 5505912"/>
              <a:gd name="connsiteY15" fmla="*/ 3228168 h 5471835"/>
              <a:gd name="connsiteX16" fmla="*/ 651001 w 5505912"/>
              <a:gd name="connsiteY16" fmla="*/ 3298724 h 5471835"/>
              <a:gd name="connsiteX17" fmla="*/ 453446 w 5505912"/>
              <a:gd name="connsiteY17" fmla="*/ 3411612 h 5471835"/>
              <a:gd name="connsiteX18" fmla="*/ 340557 w 5505912"/>
              <a:gd name="connsiteY18" fmla="*/ 3496279 h 5471835"/>
              <a:gd name="connsiteX19" fmla="*/ 171223 w 5505912"/>
              <a:gd name="connsiteY19" fmla="*/ 3707946 h 5471835"/>
              <a:gd name="connsiteX20" fmla="*/ 157112 w 5505912"/>
              <a:gd name="connsiteY20" fmla="*/ 3764390 h 5471835"/>
              <a:gd name="connsiteX21" fmla="*/ 16001 w 5505912"/>
              <a:gd name="connsiteY21" fmla="*/ 4074835 h 5471835"/>
              <a:gd name="connsiteX22" fmla="*/ 1890 w 5505912"/>
              <a:gd name="connsiteY22" fmla="*/ 4272390 h 5471835"/>
              <a:gd name="connsiteX23" fmla="*/ 72446 w 5505912"/>
              <a:gd name="connsiteY23" fmla="*/ 4568724 h 5471835"/>
              <a:gd name="connsiteX24" fmla="*/ 241779 w 5505912"/>
              <a:gd name="connsiteY24" fmla="*/ 4752168 h 5471835"/>
              <a:gd name="connsiteX25" fmla="*/ 524001 w 5505912"/>
              <a:gd name="connsiteY25" fmla="*/ 4963835 h 5471835"/>
              <a:gd name="connsiteX26" fmla="*/ 763890 w 5505912"/>
              <a:gd name="connsiteY26" fmla="*/ 5076724 h 5471835"/>
              <a:gd name="connsiteX27" fmla="*/ 1102557 w 5505912"/>
              <a:gd name="connsiteY27" fmla="*/ 5260168 h 5471835"/>
              <a:gd name="connsiteX28" fmla="*/ 1427112 w 5505912"/>
              <a:gd name="connsiteY28" fmla="*/ 5401279 h 5471835"/>
              <a:gd name="connsiteX29" fmla="*/ 1667001 w 5505912"/>
              <a:gd name="connsiteY29" fmla="*/ 5443612 h 5471835"/>
              <a:gd name="connsiteX30" fmla="*/ 2287890 w 5505912"/>
              <a:gd name="connsiteY30" fmla="*/ 5471835 h 5471835"/>
              <a:gd name="connsiteX31" fmla="*/ 3021668 w 5505912"/>
              <a:gd name="connsiteY31" fmla="*/ 5443612 h 5471835"/>
              <a:gd name="connsiteX32" fmla="*/ 3402668 w 5505912"/>
              <a:gd name="connsiteY32" fmla="*/ 5231946 h 5471835"/>
              <a:gd name="connsiteX33" fmla="*/ 3487334 w 5505912"/>
              <a:gd name="connsiteY33" fmla="*/ 5147279 h 5471835"/>
              <a:gd name="connsiteX34" fmla="*/ 3529668 w 5505912"/>
              <a:gd name="connsiteY34" fmla="*/ 4977946 h 5471835"/>
              <a:gd name="connsiteX35" fmla="*/ 3600223 w 5505912"/>
              <a:gd name="connsiteY35" fmla="*/ 4469946 h 5471835"/>
              <a:gd name="connsiteX36" fmla="*/ 3670779 w 5505912"/>
              <a:gd name="connsiteY36" fmla="*/ 4314724 h 5471835"/>
              <a:gd name="connsiteX37" fmla="*/ 3741334 w 5505912"/>
              <a:gd name="connsiteY37" fmla="*/ 4187724 h 5471835"/>
              <a:gd name="connsiteX38" fmla="*/ 4065890 w 5505912"/>
              <a:gd name="connsiteY38" fmla="*/ 3947835 h 5471835"/>
              <a:gd name="connsiteX39" fmla="*/ 4122334 w 5505912"/>
              <a:gd name="connsiteY39" fmla="*/ 3905501 h 5471835"/>
              <a:gd name="connsiteX40" fmla="*/ 4291668 w 5505912"/>
              <a:gd name="connsiteY40" fmla="*/ 3820835 h 5471835"/>
              <a:gd name="connsiteX41" fmla="*/ 4517446 w 5505912"/>
              <a:gd name="connsiteY41" fmla="*/ 3693835 h 5471835"/>
              <a:gd name="connsiteX42" fmla="*/ 4715001 w 5505912"/>
              <a:gd name="connsiteY42" fmla="*/ 3580946 h 5471835"/>
              <a:gd name="connsiteX43" fmla="*/ 4870223 w 5505912"/>
              <a:gd name="connsiteY43" fmla="*/ 3482168 h 5471835"/>
              <a:gd name="connsiteX44" fmla="*/ 5237112 w 5505912"/>
              <a:gd name="connsiteY44" fmla="*/ 3298724 h 5471835"/>
              <a:gd name="connsiteX45" fmla="*/ 5350001 w 5505912"/>
              <a:gd name="connsiteY45" fmla="*/ 3101168 h 5471835"/>
              <a:gd name="connsiteX46" fmla="*/ 5420557 w 5505912"/>
              <a:gd name="connsiteY46" fmla="*/ 2663724 h 5471835"/>
              <a:gd name="connsiteX47" fmla="*/ 5505223 w 5505912"/>
              <a:gd name="connsiteY47" fmla="*/ 2240390 h 5471835"/>
              <a:gd name="connsiteX48" fmla="*/ 5462890 w 5505912"/>
              <a:gd name="connsiteY48" fmla="*/ 1633612 h 5471835"/>
              <a:gd name="connsiteX49" fmla="*/ 5448779 w 5505912"/>
              <a:gd name="connsiteY49" fmla="*/ 913946 h 5471835"/>
              <a:gd name="connsiteX50" fmla="*/ 5420557 w 5505912"/>
              <a:gd name="connsiteY50" fmla="*/ 829279 h 5471835"/>
              <a:gd name="connsiteX51" fmla="*/ 5293557 w 5505912"/>
              <a:gd name="connsiteY51" fmla="*/ 490612 h 5471835"/>
              <a:gd name="connsiteX52" fmla="*/ 5208889 w 5505912"/>
              <a:gd name="connsiteY52" fmla="*/ 236613 h 5471835"/>
              <a:gd name="connsiteX53" fmla="*/ 4700889 w 5505912"/>
              <a:gd name="connsiteY53" fmla="*/ 10834 h 5471835"/>
              <a:gd name="connsiteX54" fmla="*/ 4164668 w 5505912"/>
              <a:gd name="connsiteY54" fmla="*/ 39057 h 5471835"/>
              <a:gd name="connsiteX55" fmla="*/ 3600223 w 5505912"/>
              <a:gd name="connsiteY55" fmla="*/ 321279 h 5471835"/>
              <a:gd name="connsiteX56" fmla="*/ 3473223 w 5505912"/>
              <a:gd name="connsiteY56" fmla="*/ 377724 h 5471835"/>
              <a:gd name="connsiteX57" fmla="*/ 3318001 w 5505912"/>
              <a:gd name="connsiteY57" fmla="*/ 617612 h 5471835"/>
              <a:gd name="connsiteX58" fmla="*/ 3148668 w 5505912"/>
              <a:gd name="connsiteY58" fmla="*/ 1139723 h 5471835"/>
              <a:gd name="connsiteX0" fmla="*/ 3162779 w 5505912"/>
              <a:gd name="connsiteY0" fmla="*/ 1069168 h 5471835"/>
              <a:gd name="connsiteX1" fmla="*/ 3162779 w 5505912"/>
              <a:gd name="connsiteY1" fmla="*/ 1069168 h 5471835"/>
              <a:gd name="connsiteX2" fmla="*/ 3134557 w 5505912"/>
              <a:gd name="connsiteY2" fmla="*/ 1393724 h 5471835"/>
              <a:gd name="connsiteX3" fmla="*/ 3120446 w 5505912"/>
              <a:gd name="connsiteY3" fmla="*/ 1746501 h 5471835"/>
              <a:gd name="connsiteX4" fmla="*/ 3049890 w 5505912"/>
              <a:gd name="connsiteY4" fmla="*/ 2085168 h 5471835"/>
              <a:gd name="connsiteX5" fmla="*/ 3021668 w 5505912"/>
              <a:gd name="connsiteY5" fmla="*/ 2325057 h 5471835"/>
              <a:gd name="connsiteX6" fmla="*/ 2951112 w 5505912"/>
              <a:gd name="connsiteY6" fmla="*/ 2423835 h 5471835"/>
              <a:gd name="connsiteX7" fmla="*/ 2852334 w 5505912"/>
              <a:gd name="connsiteY7" fmla="*/ 2522612 h 5471835"/>
              <a:gd name="connsiteX8" fmla="*/ 2654779 w 5505912"/>
              <a:gd name="connsiteY8" fmla="*/ 2691946 h 5471835"/>
              <a:gd name="connsiteX9" fmla="*/ 2330223 w 5505912"/>
              <a:gd name="connsiteY9" fmla="*/ 2960057 h 5471835"/>
              <a:gd name="connsiteX10" fmla="*/ 2118557 w 5505912"/>
              <a:gd name="connsiteY10" fmla="*/ 3044724 h 5471835"/>
              <a:gd name="connsiteX11" fmla="*/ 2033890 w 5505912"/>
              <a:gd name="connsiteY11" fmla="*/ 3058835 h 5471835"/>
              <a:gd name="connsiteX12" fmla="*/ 1723446 w 5505912"/>
              <a:gd name="connsiteY12" fmla="*/ 3101168 h 5471835"/>
              <a:gd name="connsiteX13" fmla="*/ 1286001 w 5505912"/>
              <a:gd name="connsiteY13" fmla="*/ 3143501 h 5471835"/>
              <a:gd name="connsiteX14" fmla="*/ 1017890 w 5505912"/>
              <a:gd name="connsiteY14" fmla="*/ 3185835 h 5471835"/>
              <a:gd name="connsiteX15" fmla="*/ 749779 w 5505912"/>
              <a:gd name="connsiteY15" fmla="*/ 3228168 h 5471835"/>
              <a:gd name="connsiteX16" fmla="*/ 651001 w 5505912"/>
              <a:gd name="connsiteY16" fmla="*/ 3298724 h 5471835"/>
              <a:gd name="connsiteX17" fmla="*/ 453446 w 5505912"/>
              <a:gd name="connsiteY17" fmla="*/ 3411612 h 5471835"/>
              <a:gd name="connsiteX18" fmla="*/ 340557 w 5505912"/>
              <a:gd name="connsiteY18" fmla="*/ 3496279 h 5471835"/>
              <a:gd name="connsiteX19" fmla="*/ 171223 w 5505912"/>
              <a:gd name="connsiteY19" fmla="*/ 3707946 h 5471835"/>
              <a:gd name="connsiteX20" fmla="*/ 157112 w 5505912"/>
              <a:gd name="connsiteY20" fmla="*/ 3764390 h 5471835"/>
              <a:gd name="connsiteX21" fmla="*/ 16001 w 5505912"/>
              <a:gd name="connsiteY21" fmla="*/ 4074835 h 5471835"/>
              <a:gd name="connsiteX22" fmla="*/ 1890 w 5505912"/>
              <a:gd name="connsiteY22" fmla="*/ 4272390 h 5471835"/>
              <a:gd name="connsiteX23" fmla="*/ 72446 w 5505912"/>
              <a:gd name="connsiteY23" fmla="*/ 4568724 h 5471835"/>
              <a:gd name="connsiteX24" fmla="*/ 241779 w 5505912"/>
              <a:gd name="connsiteY24" fmla="*/ 4752168 h 5471835"/>
              <a:gd name="connsiteX25" fmla="*/ 524001 w 5505912"/>
              <a:gd name="connsiteY25" fmla="*/ 4963835 h 5471835"/>
              <a:gd name="connsiteX26" fmla="*/ 763890 w 5505912"/>
              <a:gd name="connsiteY26" fmla="*/ 5076724 h 5471835"/>
              <a:gd name="connsiteX27" fmla="*/ 1102557 w 5505912"/>
              <a:gd name="connsiteY27" fmla="*/ 5260168 h 5471835"/>
              <a:gd name="connsiteX28" fmla="*/ 1427112 w 5505912"/>
              <a:gd name="connsiteY28" fmla="*/ 5401279 h 5471835"/>
              <a:gd name="connsiteX29" fmla="*/ 1667001 w 5505912"/>
              <a:gd name="connsiteY29" fmla="*/ 5443612 h 5471835"/>
              <a:gd name="connsiteX30" fmla="*/ 2287890 w 5505912"/>
              <a:gd name="connsiteY30" fmla="*/ 5471835 h 5471835"/>
              <a:gd name="connsiteX31" fmla="*/ 3021668 w 5505912"/>
              <a:gd name="connsiteY31" fmla="*/ 5443612 h 5471835"/>
              <a:gd name="connsiteX32" fmla="*/ 3402668 w 5505912"/>
              <a:gd name="connsiteY32" fmla="*/ 5231946 h 5471835"/>
              <a:gd name="connsiteX33" fmla="*/ 3487334 w 5505912"/>
              <a:gd name="connsiteY33" fmla="*/ 5147279 h 5471835"/>
              <a:gd name="connsiteX34" fmla="*/ 3529668 w 5505912"/>
              <a:gd name="connsiteY34" fmla="*/ 4977946 h 5471835"/>
              <a:gd name="connsiteX35" fmla="*/ 3600223 w 5505912"/>
              <a:gd name="connsiteY35" fmla="*/ 4469946 h 5471835"/>
              <a:gd name="connsiteX36" fmla="*/ 3670779 w 5505912"/>
              <a:gd name="connsiteY36" fmla="*/ 4314724 h 5471835"/>
              <a:gd name="connsiteX37" fmla="*/ 3741334 w 5505912"/>
              <a:gd name="connsiteY37" fmla="*/ 4187724 h 5471835"/>
              <a:gd name="connsiteX38" fmla="*/ 4065890 w 5505912"/>
              <a:gd name="connsiteY38" fmla="*/ 3947835 h 5471835"/>
              <a:gd name="connsiteX39" fmla="*/ 4122334 w 5505912"/>
              <a:gd name="connsiteY39" fmla="*/ 3905501 h 5471835"/>
              <a:gd name="connsiteX40" fmla="*/ 4291668 w 5505912"/>
              <a:gd name="connsiteY40" fmla="*/ 3820835 h 5471835"/>
              <a:gd name="connsiteX41" fmla="*/ 4517446 w 5505912"/>
              <a:gd name="connsiteY41" fmla="*/ 3693835 h 5471835"/>
              <a:gd name="connsiteX42" fmla="*/ 4715001 w 5505912"/>
              <a:gd name="connsiteY42" fmla="*/ 3580946 h 5471835"/>
              <a:gd name="connsiteX43" fmla="*/ 4870223 w 5505912"/>
              <a:gd name="connsiteY43" fmla="*/ 3482168 h 5471835"/>
              <a:gd name="connsiteX44" fmla="*/ 5237112 w 5505912"/>
              <a:gd name="connsiteY44" fmla="*/ 3298724 h 5471835"/>
              <a:gd name="connsiteX45" fmla="*/ 5350001 w 5505912"/>
              <a:gd name="connsiteY45" fmla="*/ 3101168 h 5471835"/>
              <a:gd name="connsiteX46" fmla="*/ 5420557 w 5505912"/>
              <a:gd name="connsiteY46" fmla="*/ 2663724 h 5471835"/>
              <a:gd name="connsiteX47" fmla="*/ 5505223 w 5505912"/>
              <a:gd name="connsiteY47" fmla="*/ 2240390 h 5471835"/>
              <a:gd name="connsiteX48" fmla="*/ 5462890 w 5505912"/>
              <a:gd name="connsiteY48" fmla="*/ 1633612 h 5471835"/>
              <a:gd name="connsiteX49" fmla="*/ 5448779 w 5505912"/>
              <a:gd name="connsiteY49" fmla="*/ 913946 h 5471835"/>
              <a:gd name="connsiteX50" fmla="*/ 5420557 w 5505912"/>
              <a:gd name="connsiteY50" fmla="*/ 829279 h 5471835"/>
              <a:gd name="connsiteX51" fmla="*/ 5350002 w 5505912"/>
              <a:gd name="connsiteY51" fmla="*/ 490612 h 5471835"/>
              <a:gd name="connsiteX52" fmla="*/ 5208889 w 5505912"/>
              <a:gd name="connsiteY52" fmla="*/ 236613 h 5471835"/>
              <a:gd name="connsiteX53" fmla="*/ 4700889 w 5505912"/>
              <a:gd name="connsiteY53" fmla="*/ 10834 h 5471835"/>
              <a:gd name="connsiteX54" fmla="*/ 4164668 w 5505912"/>
              <a:gd name="connsiteY54" fmla="*/ 39057 h 5471835"/>
              <a:gd name="connsiteX55" fmla="*/ 3600223 w 5505912"/>
              <a:gd name="connsiteY55" fmla="*/ 321279 h 5471835"/>
              <a:gd name="connsiteX56" fmla="*/ 3473223 w 5505912"/>
              <a:gd name="connsiteY56" fmla="*/ 377724 h 5471835"/>
              <a:gd name="connsiteX57" fmla="*/ 3318001 w 5505912"/>
              <a:gd name="connsiteY57" fmla="*/ 617612 h 5471835"/>
              <a:gd name="connsiteX58" fmla="*/ 3148668 w 5505912"/>
              <a:gd name="connsiteY58" fmla="*/ 1139723 h 5471835"/>
              <a:gd name="connsiteX0" fmla="*/ 3162779 w 5505912"/>
              <a:gd name="connsiteY0" fmla="*/ 1069168 h 5471835"/>
              <a:gd name="connsiteX1" fmla="*/ 3162779 w 5505912"/>
              <a:gd name="connsiteY1" fmla="*/ 1069168 h 5471835"/>
              <a:gd name="connsiteX2" fmla="*/ 3134557 w 5505912"/>
              <a:gd name="connsiteY2" fmla="*/ 1393724 h 5471835"/>
              <a:gd name="connsiteX3" fmla="*/ 3120446 w 5505912"/>
              <a:gd name="connsiteY3" fmla="*/ 1746501 h 5471835"/>
              <a:gd name="connsiteX4" fmla="*/ 3049890 w 5505912"/>
              <a:gd name="connsiteY4" fmla="*/ 2085168 h 5471835"/>
              <a:gd name="connsiteX5" fmla="*/ 3021668 w 5505912"/>
              <a:gd name="connsiteY5" fmla="*/ 2325057 h 5471835"/>
              <a:gd name="connsiteX6" fmla="*/ 2951112 w 5505912"/>
              <a:gd name="connsiteY6" fmla="*/ 2423835 h 5471835"/>
              <a:gd name="connsiteX7" fmla="*/ 2852334 w 5505912"/>
              <a:gd name="connsiteY7" fmla="*/ 2522612 h 5471835"/>
              <a:gd name="connsiteX8" fmla="*/ 2654779 w 5505912"/>
              <a:gd name="connsiteY8" fmla="*/ 2691946 h 5471835"/>
              <a:gd name="connsiteX9" fmla="*/ 2330223 w 5505912"/>
              <a:gd name="connsiteY9" fmla="*/ 2960057 h 5471835"/>
              <a:gd name="connsiteX10" fmla="*/ 2118557 w 5505912"/>
              <a:gd name="connsiteY10" fmla="*/ 3044724 h 5471835"/>
              <a:gd name="connsiteX11" fmla="*/ 2033890 w 5505912"/>
              <a:gd name="connsiteY11" fmla="*/ 3058835 h 5471835"/>
              <a:gd name="connsiteX12" fmla="*/ 1723446 w 5505912"/>
              <a:gd name="connsiteY12" fmla="*/ 3101168 h 5471835"/>
              <a:gd name="connsiteX13" fmla="*/ 1286001 w 5505912"/>
              <a:gd name="connsiteY13" fmla="*/ 3143501 h 5471835"/>
              <a:gd name="connsiteX14" fmla="*/ 1017890 w 5505912"/>
              <a:gd name="connsiteY14" fmla="*/ 3185835 h 5471835"/>
              <a:gd name="connsiteX15" fmla="*/ 749779 w 5505912"/>
              <a:gd name="connsiteY15" fmla="*/ 3228168 h 5471835"/>
              <a:gd name="connsiteX16" fmla="*/ 651001 w 5505912"/>
              <a:gd name="connsiteY16" fmla="*/ 3298724 h 5471835"/>
              <a:gd name="connsiteX17" fmla="*/ 453446 w 5505912"/>
              <a:gd name="connsiteY17" fmla="*/ 3411612 h 5471835"/>
              <a:gd name="connsiteX18" fmla="*/ 340557 w 5505912"/>
              <a:gd name="connsiteY18" fmla="*/ 3496279 h 5471835"/>
              <a:gd name="connsiteX19" fmla="*/ 171223 w 5505912"/>
              <a:gd name="connsiteY19" fmla="*/ 3707946 h 5471835"/>
              <a:gd name="connsiteX20" fmla="*/ 157112 w 5505912"/>
              <a:gd name="connsiteY20" fmla="*/ 3764390 h 5471835"/>
              <a:gd name="connsiteX21" fmla="*/ 16001 w 5505912"/>
              <a:gd name="connsiteY21" fmla="*/ 4074835 h 5471835"/>
              <a:gd name="connsiteX22" fmla="*/ 1890 w 5505912"/>
              <a:gd name="connsiteY22" fmla="*/ 4272390 h 5471835"/>
              <a:gd name="connsiteX23" fmla="*/ 72446 w 5505912"/>
              <a:gd name="connsiteY23" fmla="*/ 4568724 h 5471835"/>
              <a:gd name="connsiteX24" fmla="*/ 241779 w 5505912"/>
              <a:gd name="connsiteY24" fmla="*/ 4752168 h 5471835"/>
              <a:gd name="connsiteX25" fmla="*/ 524001 w 5505912"/>
              <a:gd name="connsiteY25" fmla="*/ 4963835 h 5471835"/>
              <a:gd name="connsiteX26" fmla="*/ 763890 w 5505912"/>
              <a:gd name="connsiteY26" fmla="*/ 5076724 h 5471835"/>
              <a:gd name="connsiteX27" fmla="*/ 1102557 w 5505912"/>
              <a:gd name="connsiteY27" fmla="*/ 5260168 h 5471835"/>
              <a:gd name="connsiteX28" fmla="*/ 1427112 w 5505912"/>
              <a:gd name="connsiteY28" fmla="*/ 5401279 h 5471835"/>
              <a:gd name="connsiteX29" fmla="*/ 1667001 w 5505912"/>
              <a:gd name="connsiteY29" fmla="*/ 5443612 h 5471835"/>
              <a:gd name="connsiteX30" fmla="*/ 2287890 w 5505912"/>
              <a:gd name="connsiteY30" fmla="*/ 5471835 h 5471835"/>
              <a:gd name="connsiteX31" fmla="*/ 3021668 w 5505912"/>
              <a:gd name="connsiteY31" fmla="*/ 5443612 h 5471835"/>
              <a:gd name="connsiteX32" fmla="*/ 3402668 w 5505912"/>
              <a:gd name="connsiteY32" fmla="*/ 5231946 h 5471835"/>
              <a:gd name="connsiteX33" fmla="*/ 3487334 w 5505912"/>
              <a:gd name="connsiteY33" fmla="*/ 5147279 h 5471835"/>
              <a:gd name="connsiteX34" fmla="*/ 3529668 w 5505912"/>
              <a:gd name="connsiteY34" fmla="*/ 4977946 h 5471835"/>
              <a:gd name="connsiteX35" fmla="*/ 3600223 w 5505912"/>
              <a:gd name="connsiteY35" fmla="*/ 4469946 h 5471835"/>
              <a:gd name="connsiteX36" fmla="*/ 3670779 w 5505912"/>
              <a:gd name="connsiteY36" fmla="*/ 4314724 h 5471835"/>
              <a:gd name="connsiteX37" fmla="*/ 3741334 w 5505912"/>
              <a:gd name="connsiteY37" fmla="*/ 4187724 h 5471835"/>
              <a:gd name="connsiteX38" fmla="*/ 4065890 w 5505912"/>
              <a:gd name="connsiteY38" fmla="*/ 3947835 h 5471835"/>
              <a:gd name="connsiteX39" fmla="*/ 4122334 w 5505912"/>
              <a:gd name="connsiteY39" fmla="*/ 3905501 h 5471835"/>
              <a:gd name="connsiteX40" fmla="*/ 4291668 w 5505912"/>
              <a:gd name="connsiteY40" fmla="*/ 3820835 h 5471835"/>
              <a:gd name="connsiteX41" fmla="*/ 4517446 w 5505912"/>
              <a:gd name="connsiteY41" fmla="*/ 3693835 h 5471835"/>
              <a:gd name="connsiteX42" fmla="*/ 4715001 w 5505912"/>
              <a:gd name="connsiteY42" fmla="*/ 3580946 h 5471835"/>
              <a:gd name="connsiteX43" fmla="*/ 4870223 w 5505912"/>
              <a:gd name="connsiteY43" fmla="*/ 3482168 h 5471835"/>
              <a:gd name="connsiteX44" fmla="*/ 5237112 w 5505912"/>
              <a:gd name="connsiteY44" fmla="*/ 3298724 h 5471835"/>
              <a:gd name="connsiteX45" fmla="*/ 5350001 w 5505912"/>
              <a:gd name="connsiteY45" fmla="*/ 3101168 h 5471835"/>
              <a:gd name="connsiteX46" fmla="*/ 5420557 w 5505912"/>
              <a:gd name="connsiteY46" fmla="*/ 2663724 h 5471835"/>
              <a:gd name="connsiteX47" fmla="*/ 5505223 w 5505912"/>
              <a:gd name="connsiteY47" fmla="*/ 2240390 h 5471835"/>
              <a:gd name="connsiteX48" fmla="*/ 5462890 w 5505912"/>
              <a:gd name="connsiteY48" fmla="*/ 1633612 h 5471835"/>
              <a:gd name="connsiteX49" fmla="*/ 5448779 w 5505912"/>
              <a:gd name="connsiteY49" fmla="*/ 913946 h 5471835"/>
              <a:gd name="connsiteX50" fmla="*/ 5420557 w 5505912"/>
              <a:gd name="connsiteY50" fmla="*/ 829279 h 5471835"/>
              <a:gd name="connsiteX51" fmla="*/ 5350002 w 5505912"/>
              <a:gd name="connsiteY51" fmla="*/ 490612 h 5471835"/>
              <a:gd name="connsiteX52" fmla="*/ 5208889 w 5505912"/>
              <a:gd name="connsiteY52" fmla="*/ 236613 h 5471835"/>
              <a:gd name="connsiteX53" fmla="*/ 4700889 w 5505912"/>
              <a:gd name="connsiteY53" fmla="*/ 10834 h 5471835"/>
              <a:gd name="connsiteX54" fmla="*/ 4164668 w 5505912"/>
              <a:gd name="connsiteY54" fmla="*/ 39057 h 5471835"/>
              <a:gd name="connsiteX55" fmla="*/ 3600223 w 5505912"/>
              <a:gd name="connsiteY55" fmla="*/ 321279 h 5471835"/>
              <a:gd name="connsiteX56" fmla="*/ 3473223 w 5505912"/>
              <a:gd name="connsiteY56" fmla="*/ 377724 h 5471835"/>
              <a:gd name="connsiteX57" fmla="*/ 3318001 w 5505912"/>
              <a:gd name="connsiteY57" fmla="*/ 617612 h 5471835"/>
              <a:gd name="connsiteX58" fmla="*/ 3148668 w 5505912"/>
              <a:gd name="connsiteY58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3021668 w 5505976"/>
              <a:gd name="connsiteY5" fmla="*/ 2325057 h 5471835"/>
              <a:gd name="connsiteX6" fmla="*/ 2951112 w 5505976"/>
              <a:gd name="connsiteY6" fmla="*/ 2423835 h 5471835"/>
              <a:gd name="connsiteX7" fmla="*/ 2852334 w 5505976"/>
              <a:gd name="connsiteY7" fmla="*/ 2522612 h 5471835"/>
              <a:gd name="connsiteX8" fmla="*/ 2654779 w 5505976"/>
              <a:gd name="connsiteY8" fmla="*/ 2691946 h 5471835"/>
              <a:gd name="connsiteX9" fmla="*/ 2330223 w 5505976"/>
              <a:gd name="connsiteY9" fmla="*/ 2960057 h 5471835"/>
              <a:gd name="connsiteX10" fmla="*/ 2118557 w 5505976"/>
              <a:gd name="connsiteY10" fmla="*/ 3044724 h 5471835"/>
              <a:gd name="connsiteX11" fmla="*/ 2033890 w 5505976"/>
              <a:gd name="connsiteY11" fmla="*/ 3058835 h 5471835"/>
              <a:gd name="connsiteX12" fmla="*/ 1723446 w 5505976"/>
              <a:gd name="connsiteY12" fmla="*/ 3101168 h 5471835"/>
              <a:gd name="connsiteX13" fmla="*/ 1286001 w 5505976"/>
              <a:gd name="connsiteY13" fmla="*/ 3143501 h 5471835"/>
              <a:gd name="connsiteX14" fmla="*/ 1017890 w 5505976"/>
              <a:gd name="connsiteY14" fmla="*/ 3185835 h 5471835"/>
              <a:gd name="connsiteX15" fmla="*/ 749779 w 5505976"/>
              <a:gd name="connsiteY15" fmla="*/ 3228168 h 5471835"/>
              <a:gd name="connsiteX16" fmla="*/ 651001 w 5505976"/>
              <a:gd name="connsiteY16" fmla="*/ 3298724 h 5471835"/>
              <a:gd name="connsiteX17" fmla="*/ 453446 w 5505976"/>
              <a:gd name="connsiteY17" fmla="*/ 3411612 h 5471835"/>
              <a:gd name="connsiteX18" fmla="*/ 340557 w 5505976"/>
              <a:gd name="connsiteY18" fmla="*/ 3496279 h 5471835"/>
              <a:gd name="connsiteX19" fmla="*/ 171223 w 5505976"/>
              <a:gd name="connsiteY19" fmla="*/ 3707946 h 5471835"/>
              <a:gd name="connsiteX20" fmla="*/ 157112 w 5505976"/>
              <a:gd name="connsiteY20" fmla="*/ 3764390 h 5471835"/>
              <a:gd name="connsiteX21" fmla="*/ 16001 w 5505976"/>
              <a:gd name="connsiteY21" fmla="*/ 4074835 h 5471835"/>
              <a:gd name="connsiteX22" fmla="*/ 1890 w 5505976"/>
              <a:gd name="connsiteY22" fmla="*/ 4272390 h 5471835"/>
              <a:gd name="connsiteX23" fmla="*/ 72446 w 5505976"/>
              <a:gd name="connsiteY23" fmla="*/ 4568724 h 5471835"/>
              <a:gd name="connsiteX24" fmla="*/ 241779 w 5505976"/>
              <a:gd name="connsiteY24" fmla="*/ 4752168 h 5471835"/>
              <a:gd name="connsiteX25" fmla="*/ 524001 w 5505976"/>
              <a:gd name="connsiteY25" fmla="*/ 4963835 h 5471835"/>
              <a:gd name="connsiteX26" fmla="*/ 763890 w 5505976"/>
              <a:gd name="connsiteY26" fmla="*/ 5076724 h 5471835"/>
              <a:gd name="connsiteX27" fmla="*/ 1102557 w 5505976"/>
              <a:gd name="connsiteY27" fmla="*/ 5260168 h 5471835"/>
              <a:gd name="connsiteX28" fmla="*/ 1427112 w 5505976"/>
              <a:gd name="connsiteY28" fmla="*/ 5401279 h 5471835"/>
              <a:gd name="connsiteX29" fmla="*/ 1667001 w 5505976"/>
              <a:gd name="connsiteY29" fmla="*/ 5443612 h 5471835"/>
              <a:gd name="connsiteX30" fmla="*/ 2287890 w 5505976"/>
              <a:gd name="connsiteY30" fmla="*/ 5471835 h 5471835"/>
              <a:gd name="connsiteX31" fmla="*/ 3021668 w 5505976"/>
              <a:gd name="connsiteY31" fmla="*/ 5443612 h 5471835"/>
              <a:gd name="connsiteX32" fmla="*/ 3402668 w 5505976"/>
              <a:gd name="connsiteY32" fmla="*/ 5231946 h 5471835"/>
              <a:gd name="connsiteX33" fmla="*/ 3487334 w 5505976"/>
              <a:gd name="connsiteY33" fmla="*/ 5147279 h 5471835"/>
              <a:gd name="connsiteX34" fmla="*/ 3529668 w 5505976"/>
              <a:gd name="connsiteY34" fmla="*/ 4977946 h 5471835"/>
              <a:gd name="connsiteX35" fmla="*/ 3600223 w 5505976"/>
              <a:gd name="connsiteY35" fmla="*/ 4469946 h 5471835"/>
              <a:gd name="connsiteX36" fmla="*/ 3670779 w 5505976"/>
              <a:gd name="connsiteY36" fmla="*/ 4314724 h 5471835"/>
              <a:gd name="connsiteX37" fmla="*/ 3741334 w 5505976"/>
              <a:gd name="connsiteY37" fmla="*/ 4187724 h 5471835"/>
              <a:gd name="connsiteX38" fmla="*/ 4065890 w 5505976"/>
              <a:gd name="connsiteY38" fmla="*/ 3947835 h 5471835"/>
              <a:gd name="connsiteX39" fmla="*/ 4122334 w 5505976"/>
              <a:gd name="connsiteY39" fmla="*/ 3905501 h 5471835"/>
              <a:gd name="connsiteX40" fmla="*/ 4291668 w 5505976"/>
              <a:gd name="connsiteY40" fmla="*/ 3820835 h 5471835"/>
              <a:gd name="connsiteX41" fmla="*/ 4517446 w 5505976"/>
              <a:gd name="connsiteY41" fmla="*/ 3693835 h 5471835"/>
              <a:gd name="connsiteX42" fmla="*/ 4715001 w 5505976"/>
              <a:gd name="connsiteY42" fmla="*/ 3580946 h 5471835"/>
              <a:gd name="connsiteX43" fmla="*/ 4870223 w 5505976"/>
              <a:gd name="connsiteY43" fmla="*/ 3482168 h 5471835"/>
              <a:gd name="connsiteX44" fmla="*/ 5237112 w 5505976"/>
              <a:gd name="connsiteY44" fmla="*/ 3298724 h 5471835"/>
              <a:gd name="connsiteX45" fmla="*/ 5350001 w 5505976"/>
              <a:gd name="connsiteY45" fmla="*/ 3101168 h 5471835"/>
              <a:gd name="connsiteX46" fmla="*/ 5420557 w 5505976"/>
              <a:gd name="connsiteY46" fmla="*/ 2663724 h 5471835"/>
              <a:gd name="connsiteX47" fmla="*/ 5505223 w 5505976"/>
              <a:gd name="connsiteY47" fmla="*/ 2240390 h 5471835"/>
              <a:gd name="connsiteX48" fmla="*/ 5462890 w 5505976"/>
              <a:gd name="connsiteY48" fmla="*/ 1633612 h 5471835"/>
              <a:gd name="connsiteX49" fmla="*/ 5477001 w 5505976"/>
              <a:gd name="connsiteY49" fmla="*/ 1111502 h 5471835"/>
              <a:gd name="connsiteX50" fmla="*/ 5420557 w 5505976"/>
              <a:gd name="connsiteY50" fmla="*/ 829279 h 5471835"/>
              <a:gd name="connsiteX51" fmla="*/ 5350002 w 5505976"/>
              <a:gd name="connsiteY51" fmla="*/ 490612 h 5471835"/>
              <a:gd name="connsiteX52" fmla="*/ 5208889 w 5505976"/>
              <a:gd name="connsiteY52" fmla="*/ 236613 h 5471835"/>
              <a:gd name="connsiteX53" fmla="*/ 4700889 w 5505976"/>
              <a:gd name="connsiteY53" fmla="*/ 10834 h 5471835"/>
              <a:gd name="connsiteX54" fmla="*/ 4164668 w 5505976"/>
              <a:gd name="connsiteY54" fmla="*/ 39057 h 5471835"/>
              <a:gd name="connsiteX55" fmla="*/ 3600223 w 5505976"/>
              <a:gd name="connsiteY55" fmla="*/ 321279 h 5471835"/>
              <a:gd name="connsiteX56" fmla="*/ 3473223 w 5505976"/>
              <a:gd name="connsiteY56" fmla="*/ 377724 h 5471835"/>
              <a:gd name="connsiteX57" fmla="*/ 3318001 w 5505976"/>
              <a:gd name="connsiteY57" fmla="*/ 617612 h 5471835"/>
              <a:gd name="connsiteX58" fmla="*/ 3148668 w 5505976"/>
              <a:gd name="connsiteY58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3021668 w 5505976"/>
              <a:gd name="connsiteY5" fmla="*/ 2325057 h 5471835"/>
              <a:gd name="connsiteX6" fmla="*/ 2852334 w 5505976"/>
              <a:gd name="connsiteY6" fmla="*/ 2522612 h 5471835"/>
              <a:gd name="connsiteX7" fmla="*/ 2654779 w 5505976"/>
              <a:gd name="connsiteY7" fmla="*/ 2691946 h 5471835"/>
              <a:gd name="connsiteX8" fmla="*/ 2330223 w 5505976"/>
              <a:gd name="connsiteY8" fmla="*/ 2960057 h 5471835"/>
              <a:gd name="connsiteX9" fmla="*/ 2118557 w 5505976"/>
              <a:gd name="connsiteY9" fmla="*/ 3044724 h 5471835"/>
              <a:gd name="connsiteX10" fmla="*/ 2033890 w 5505976"/>
              <a:gd name="connsiteY10" fmla="*/ 3058835 h 5471835"/>
              <a:gd name="connsiteX11" fmla="*/ 1723446 w 5505976"/>
              <a:gd name="connsiteY11" fmla="*/ 3101168 h 5471835"/>
              <a:gd name="connsiteX12" fmla="*/ 1286001 w 5505976"/>
              <a:gd name="connsiteY12" fmla="*/ 3143501 h 5471835"/>
              <a:gd name="connsiteX13" fmla="*/ 1017890 w 5505976"/>
              <a:gd name="connsiteY13" fmla="*/ 3185835 h 5471835"/>
              <a:gd name="connsiteX14" fmla="*/ 749779 w 5505976"/>
              <a:gd name="connsiteY14" fmla="*/ 3228168 h 5471835"/>
              <a:gd name="connsiteX15" fmla="*/ 651001 w 5505976"/>
              <a:gd name="connsiteY15" fmla="*/ 3298724 h 5471835"/>
              <a:gd name="connsiteX16" fmla="*/ 453446 w 5505976"/>
              <a:gd name="connsiteY16" fmla="*/ 3411612 h 5471835"/>
              <a:gd name="connsiteX17" fmla="*/ 340557 w 5505976"/>
              <a:gd name="connsiteY17" fmla="*/ 3496279 h 5471835"/>
              <a:gd name="connsiteX18" fmla="*/ 171223 w 5505976"/>
              <a:gd name="connsiteY18" fmla="*/ 3707946 h 5471835"/>
              <a:gd name="connsiteX19" fmla="*/ 157112 w 5505976"/>
              <a:gd name="connsiteY19" fmla="*/ 3764390 h 5471835"/>
              <a:gd name="connsiteX20" fmla="*/ 16001 w 5505976"/>
              <a:gd name="connsiteY20" fmla="*/ 4074835 h 5471835"/>
              <a:gd name="connsiteX21" fmla="*/ 1890 w 5505976"/>
              <a:gd name="connsiteY21" fmla="*/ 4272390 h 5471835"/>
              <a:gd name="connsiteX22" fmla="*/ 72446 w 5505976"/>
              <a:gd name="connsiteY22" fmla="*/ 4568724 h 5471835"/>
              <a:gd name="connsiteX23" fmla="*/ 241779 w 5505976"/>
              <a:gd name="connsiteY23" fmla="*/ 4752168 h 5471835"/>
              <a:gd name="connsiteX24" fmla="*/ 524001 w 5505976"/>
              <a:gd name="connsiteY24" fmla="*/ 4963835 h 5471835"/>
              <a:gd name="connsiteX25" fmla="*/ 763890 w 5505976"/>
              <a:gd name="connsiteY25" fmla="*/ 5076724 h 5471835"/>
              <a:gd name="connsiteX26" fmla="*/ 1102557 w 5505976"/>
              <a:gd name="connsiteY26" fmla="*/ 5260168 h 5471835"/>
              <a:gd name="connsiteX27" fmla="*/ 1427112 w 5505976"/>
              <a:gd name="connsiteY27" fmla="*/ 5401279 h 5471835"/>
              <a:gd name="connsiteX28" fmla="*/ 1667001 w 5505976"/>
              <a:gd name="connsiteY28" fmla="*/ 5443612 h 5471835"/>
              <a:gd name="connsiteX29" fmla="*/ 2287890 w 5505976"/>
              <a:gd name="connsiteY29" fmla="*/ 5471835 h 5471835"/>
              <a:gd name="connsiteX30" fmla="*/ 3021668 w 5505976"/>
              <a:gd name="connsiteY30" fmla="*/ 5443612 h 5471835"/>
              <a:gd name="connsiteX31" fmla="*/ 3402668 w 5505976"/>
              <a:gd name="connsiteY31" fmla="*/ 5231946 h 5471835"/>
              <a:gd name="connsiteX32" fmla="*/ 3487334 w 5505976"/>
              <a:gd name="connsiteY32" fmla="*/ 5147279 h 5471835"/>
              <a:gd name="connsiteX33" fmla="*/ 3529668 w 5505976"/>
              <a:gd name="connsiteY33" fmla="*/ 4977946 h 5471835"/>
              <a:gd name="connsiteX34" fmla="*/ 3600223 w 5505976"/>
              <a:gd name="connsiteY34" fmla="*/ 4469946 h 5471835"/>
              <a:gd name="connsiteX35" fmla="*/ 3670779 w 5505976"/>
              <a:gd name="connsiteY35" fmla="*/ 4314724 h 5471835"/>
              <a:gd name="connsiteX36" fmla="*/ 3741334 w 5505976"/>
              <a:gd name="connsiteY36" fmla="*/ 4187724 h 5471835"/>
              <a:gd name="connsiteX37" fmla="*/ 4065890 w 5505976"/>
              <a:gd name="connsiteY37" fmla="*/ 3947835 h 5471835"/>
              <a:gd name="connsiteX38" fmla="*/ 4122334 w 5505976"/>
              <a:gd name="connsiteY38" fmla="*/ 3905501 h 5471835"/>
              <a:gd name="connsiteX39" fmla="*/ 4291668 w 5505976"/>
              <a:gd name="connsiteY39" fmla="*/ 3820835 h 5471835"/>
              <a:gd name="connsiteX40" fmla="*/ 4517446 w 5505976"/>
              <a:gd name="connsiteY40" fmla="*/ 3693835 h 5471835"/>
              <a:gd name="connsiteX41" fmla="*/ 4715001 w 5505976"/>
              <a:gd name="connsiteY41" fmla="*/ 3580946 h 5471835"/>
              <a:gd name="connsiteX42" fmla="*/ 4870223 w 5505976"/>
              <a:gd name="connsiteY42" fmla="*/ 3482168 h 5471835"/>
              <a:gd name="connsiteX43" fmla="*/ 5237112 w 5505976"/>
              <a:gd name="connsiteY43" fmla="*/ 3298724 h 5471835"/>
              <a:gd name="connsiteX44" fmla="*/ 5350001 w 5505976"/>
              <a:gd name="connsiteY44" fmla="*/ 3101168 h 5471835"/>
              <a:gd name="connsiteX45" fmla="*/ 5420557 w 5505976"/>
              <a:gd name="connsiteY45" fmla="*/ 2663724 h 5471835"/>
              <a:gd name="connsiteX46" fmla="*/ 5505223 w 5505976"/>
              <a:gd name="connsiteY46" fmla="*/ 2240390 h 5471835"/>
              <a:gd name="connsiteX47" fmla="*/ 5462890 w 5505976"/>
              <a:gd name="connsiteY47" fmla="*/ 1633612 h 5471835"/>
              <a:gd name="connsiteX48" fmla="*/ 5477001 w 5505976"/>
              <a:gd name="connsiteY48" fmla="*/ 1111502 h 5471835"/>
              <a:gd name="connsiteX49" fmla="*/ 5420557 w 5505976"/>
              <a:gd name="connsiteY49" fmla="*/ 829279 h 5471835"/>
              <a:gd name="connsiteX50" fmla="*/ 5350002 w 5505976"/>
              <a:gd name="connsiteY50" fmla="*/ 490612 h 5471835"/>
              <a:gd name="connsiteX51" fmla="*/ 5208889 w 5505976"/>
              <a:gd name="connsiteY51" fmla="*/ 236613 h 5471835"/>
              <a:gd name="connsiteX52" fmla="*/ 4700889 w 5505976"/>
              <a:gd name="connsiteY52" fmla="*/ 10834 h 5471835"/>
              <a:gd name="connsiteX53" fmla="*/ 4164668 w 5505976"/>
              <a:gd name="connsiteY53" fmla="*/ 39057 h 5471835"/>
              <a:gd name="connsiteX54" fmla="*/ 3600223 w 5505976"/>
              <a:gd name="connsiteY54" fmla="*/ 321279 h 5471835"/>
              <a:gd name="connsiteX55" fmla="*/ 3473223 w 5505976"/>
              <a:gd name="connsiteY55" fmla="*/ 377724 h 5471835"/>
              <a:gd name="connsiteX56" fmla="*/ 3318001 w 5505976"/>
              <a:gd name="connsiteY56" fmla="*/ 617612 h 5471835"/>
              <a:gd name="connsiteX57" fmla="*/ 3148668 w 5505976"/>
              <a:gd name="connsiteY57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2852334 w 5505976"/>
              <a:gd name="connsiteY5" fmla="*/ 2522612 h 5471835"/>
              <a:gd name="connsiteX6" fmla="*/ 2654779 w 5505976"/>
              <a:gd name="connsiteY6" fmla="*/ 2691946 h 5471835"/>
              <a:gd name="connsiteX7" fmla="*/ 2330223 w 5505976"/>
              <a:gd name="connsiteY7" fmla="*/ 2960057 h 5471835"/>
              <a:gd name="connsiteX8" fmla="*/ 2118557 w 5505976"/>
              <a:gd name="connsiteY8" fmla="*/ 3044724 h 5471835"/>
              <a:gd name="connsiteX9" fmla="*/ 2033890 w 5505976"/>
              <a:gd name="connsiteY9" fmla="*/ 3058835 h 5471835"/>
              <a:gd name="connsiteX10" fmla="*/ 1723446 w 5505976"/>
              <a:gd name="connsiteY10" fmla="*/ 3101168 h 5471835"/>
              <a:gd name="connsiteX11" fmla="*/ 1286001 w 5505976"/>
              <a:gd name="connsiteY11" fmla="*/ 3143501 h 5471835"/>
              <a:gd name="connsiteX12" fmla="*/ 1017890 w 5505976"/>
              <a:gd name="connsiteY12" fmla="*/ 3185835 h 5471835"/>
              <a:gd name="connsiteX13" fmla="*/ 749779 w 5505976"/>
              <a:gd name="connsiteY13" fmla="*/ 3228168 h 5471835"/>
              <a:gd name="connsiteX14" fmla="*/ 651001 w 5505976"/>
              <a:gd name="connsiteY14" fmla="*/ 3298724 h 5471835"/>
              <a:gd name="connsiteX15" fmla="*/ 453446 w 5505976"/>
              <a:gd name="connsiteY15" fmla="*/ 3411612 h 5471835"/>
              <a:gd name="connsiteX16" fmla="*/ 340557 w 5505976"/>
              <a:gd name="connsiteY16" fmla="*/ 3496279 h 5471835"/>
              <a:gd name="connsiteX17" fmla="*/ 171223 w 5505976"/>
              <a:gd name="connsiteY17" fmla="*/ 3707946 h 5471835"/>
              <a:gd name="connsiteX18" fmla="*/ 157112 w 5505976"/>
              <a:gd name="connsiteY18" fmla="*/ 3764390 h 5471835"/>
              <a:gd name="connsiteX19" fmla="*/ 16001 w 5505976"/>
              <a:gd name="connsiteY19" fmla="*/ 4074835 h 5471835"/>
              <a:gd name="connsiteX20" fmla="*/ 1890 w 5505976"/>
              <a:gd name="connsiteY20" fmla="*/ 4272390 h 5471835"/>
              <a:gd name="connsiteX21" fmla="*/ 72446 w 5505976"/>
              <a:gd name="connsiteY21" fmla="*/ 4568724 h 5471835"/>
              <a:gd name="connsiteX22" fmla="*/ 241779 w 5505976"/>
              <a:gd name="connsiteY22" fmla="*/ 4752168 h 5471835"/>
              <a:gd name="connsiteX23" fmla="*/ 524001 w 5505976"/>
              <a:gd name="connsiteY23" fmla="*/ 4963835 h 5471835"/>
              <a:gd name="connsiteX24" fmla="*/ 763890 w 5505976"/>
              <a:gd name="connsiteY24" fmla="*/ 5076724 h 5471835"/>
              <a:gd name="connsiteX25" fmla="*/ 1102557 w 5505976"/>
              <a:gd name="connsiteY25" fmla="*/ 5260168 h 5471835"/>
              <a:gd name="connsiteX26" fmla="*/ 1427112 w 5505976"/>
              <a:gd name="connsiteY26" fmla="*/ 5401279 h 5471835"/>
              <a:gd name="connsiteX27" fmla="*/ 1667001 w 5505976"/>
              <a:gd name="connsiteY27" fmla="*/ 5443612 h 5471835"/>
              <a:gd name="connsiteX28" fmla="*/ 2287890 w 5505976"/>
              <a:gd name="connsiteY28" fmla="*/ 5471835 h 5471835"/>
              <a:gd name="connsiteX29" fmla="*/ 3021668 w 5505976"/>
              <a:gd name="connsiteY29" fmla="*/ 5443612 h 5471835"/>
              <a:gd name="connsiteX30" fmla="*/ 3402668 w 5505976"/>
              <a:gd name="connsiteY30" fmla="*/ 5231946 h 5471835"/>
              <a:gd name="connsiteX31" fmla="*/ 3487334 w 5505976"/>
              <a:gd name="connsiteY31" fmla="*/ 5147279 h 5471835"/>
              <a:gd name="connsiteX32" fmla="*/ 3529668 w 5505976"/>
              <a:gd name="connsiteY32" fmla="*/ 4977946 h 5471835"/>
              <a:gd name="connsiteX33" fmla="*/ 3600223 w 5505976"/>
              <a:gd name="connsiteY33" fmla="*/ 4469946 h 5471835"/>
              <a:gd name="connsiteX34" fmla="*/ 3670779 w 5505976"/>
              <a:gd name="connsiteY34" fmla="*/ 4314724 h 5471835"/>
              <a:gd name="connsiteX35" fmla="*/ 3741334 w 5505976"/>
              <a:gd name="connsiteY35" fmla="*/ 4187724 h 5471835"/>
              <a:gd name="connsiteX36" fmla="*/ 4065890 w 5505976"/>
              <a:gd name="connsiteY36" fmla="*/ 3947835 h 5471835"/>
              <a:gd name="connsiteX37" fmla="*/ 4122334 w 5505976"/>
              <a:gd name="connsiteY37" fmla="*/ 3905501 h 5471835"/>
              <a:gd name="connsiteX38" fmla="*/ 4291668 w 5505976"/>
              <a:gd name="connsiteY38" fmla="*/ 3820835 h 5471835"/>
              <a:gd name="connsiteX39" fmla="*/ 4517446 w 5505976"/>
              <a:gd name="connsiteY39" fmla="*/ 3693835 h 5471835"/>
              <a:gd name="connsiteX40" fmla="*/ 4715001 w 5505976"/>
              <a:gd name="connsiteY40" fmla="*/ 3580946 h 5471835"/>
              <a:gd name="connsiteX41" fmla="*/ 4870223 w 5505976"/>
              <a:gd name="connsiteY41" fmla="*/ 3482168 h 5471835"/>
              <a:gd name="connsiteX42" fmla="*/ 5237112 w 5505976"/>
              <a:gd name="connsiteY42" fmla="*/ 3298724 h 5471835"/>
              <a:gd name="connsiteX43" fmla="*/ 5350001 w 5505976"/>
              <a:gd name="connsiteY43" fmla="*/ 3101168 h 5471835"/>
              <a:gd name="connsiteX44" fmla="*/ 5420557 w 5505976"/>
              <a:gd name="connsiteY44" fmla="*/ 2663724 h 5471835"/>
              <a:gd name="connsiteX45" fmla="*/ 5505223 w 5505976"/>
              <a:gd name="connsiteY45" fmla="*/ 2240390 h 5471835"/>
              <a:gd name="connsiteX46" fmla="*/ 5462890 w 5505976"/>
              <a:gd name="connsiteY46" fmla="*/ 1633612 h 5471835"/>
              <a:gd name="connsiteX47" fmla="*/ 5477001 w 5505976"/>
              <a:gd name="connsiteY47" fmla="*/ 1111502 h 5471835"/>
              <a:gd name="connsiteX48" fmla="*/ 5420557 w 5505976"/>
              <a:gd name="connsiteY48" fmla="*/ 829279 h 5471835"/>
              <a:gd name="connsiteX49" fmla="*/ 5350002 w 5505976"/>
              <a:gd name="connsiteY49" fmla="*/ 490612 h 5471835"/>
              <a:gd name="connsiteX50" fmla="*/ 5208889 w 5505976"/>
              <a:gd name="connsiteY50" fmla="*/ 236613 h 5471835"/>
              <a:gd name="connsiteX51" fmla="*/ 4700889 w 5505976"/>
              <a:gd name="connsiteY51" fmla="*/ 10834 h 5471835"/>
              <a:gd name="connsiteX52" fmla="*/ 4164668 w 5505976"/>
              <a:gd name="connsiteY52" fmla="*/ 39057 h 5471835"/>
              <a:gd name="connsiteX53" fmla="*/ 3600223 w 5505976"/>
              <a:gd name="connsiteY53" fmla="*/ 321279 h 5471835"/>
              <a:gd name="connsiteX54" fmla="*/ 3473223 w 5505976"/>
              <a:gd name="connsiteY54" fmla="*/ 377724 h 5471835"/>
              <a:gd name="connsiteX55" fmla="*/ 3318001 w 5505976"/>
              <a:gd name="connsiteY55" fmla="*/ 617612 h 5471835"/>
              <a:gd name="connsiteX56" fmla="*/ 3148668 w 5505976"/>
              <a:gd name="connsiteY56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2852334 w 5505976"/>
              <a:gd name="connsiteY5" fmla="*/ 2522612 h 5471835"/>
              <a:gd name="connsiteX6" fmla="*/ 2654779 w 5505976"/>
              <a:gd name="connsiteY6" fmla="*/ 2691946 h 5471835"/>
              <a:gd name="connsiteX7" fmla="*/ 2330223 w 5505976"/>
              <a:gd name="connsiteY7" fmla="*/ 2960057 h 5471835"/>
              <a:gd name="connsiteX8" fmla="*/ 2118557 w 5505976"/>
              <a:gd name="connsiteY8" fmla="*/ 3044724 h 5471835"/>
              <a:gd name="connsiteX9" fmla="*/ 2033890 w 5505976"/>
              <a:gd name="connsiteY9" fmla="*/ 3058835 h 5471835"/>
              <a:gd name="connsiteX10" fmla="*/ 1723446 w 5505976"/>
              <a:gd name="connsiteY10" fmla="*/ 3101168 h 5471835"/>
              <a:gd name="connsiteX11" fmla="*/ 1286001 w 5505976"/>
              <a:gd name="connsiteY11" fmla="*/ 3143501 h 5471835"/>
              <a:gd name="connsiteX12" fmla="*/ 1017890 w 5505976"/>
              <a:gd name="connsiteY12" fmla="*/ 3185835 h 5471835"/>
              <a:gd name="connsiteX13" fmla="*/ 749779 w 5505976"/>
              <a:gd name="connsiteY13" fmla="*/ 3228168 h 5471835"/>
              <a:gd name="connsiteX14" fmla="*/ 651001 w 5505976"/>
              <a:gd name="connsiteY14" fmla="*/ 3298724 h 5471835"/>
              <a:gd name="connsiteX15" fmla="*/ 453446 w 5505976"/>
              <a:gd name="connsiteY15" fmla="*/ 3411612 h 5471835"/>
              <a:gd name="connsiteX16" fmla="*/ 340557 w 5505976"/>
              <a:gd name="connsiteY16" fmla="*/ 3496279 h 5471835"/>
              <a:gd name="connsiteX17" fmla="*/ 171223 w 5505976"/>
              <a:gd name="connsiteY17" fmla="*/ 3707946 h 5471835"/>
              <a:gd name="connsiteX18" fmla="*/ 157112 w 5505976"/>
              <a:gd name="connsiteY18" fmla="*/ 3764390 h 5471835"/>
              <a:gd name="connsiteX19" fmla="*/ 16001 w 5505976"/>
              <a:gd name="connsiteY19" fmla="*/ 4074835 h 5471835"/>
              <a:gd name="connsiteX20" fmla="*/ 1890 w 5505976"/>
              <a:gd name="connsiteY20" fmla="*/ 4272390 h 5471835"/>
              <a:gd name="connsiteX21" fmla="*/ 72446 w 5505976"/>
              <a:gd name="connsiteY21" fmla="*/ 4568724 h 5471835"/>
              <a:gd name="connsiteX22" fmla="*/ 241779 w 5505976"/>
              <a:gd name="connsiteY22" fmla="*/ 4752168 h 5471835"/>
              <a:gd name="connsiteX23" fmla="*/ 524001 w 5505976"/>
              <a:gd name="connsiteY23" fmla="*/ 4963835 h 5471835"/>
              <a:gd name="connsiteX24" fmla="*/ 763890 w 5505976"/>
              <a:gd name="connsiteY24" fmla="*/ 5076724 h 5471835"/>
              <a:gd name="connsiteX25" fmla="*/ 1102557 w 5505976"/>
              <a:gd name="connsiteY25" fmla="*/ 5260168 h 5471835"/>
              <a:gd name="connsiteX26" fmla="*/ 1427112 w 5505976"/>
              <a:gd name="connsiteY26" fmla="*/ 5401279 h 5471835"/>
              <a:gd name="connsiteX27" fmla="*/ 1667001 w 5505976"/>
              <a:gd name="connsiteY27" fmla="*/ 5443612 h 5471835"/>
              <a:gd name="connsiteX28" fmla="*/ 2287890 w 5505976"/>
              <a:gd name="connsiteY28" fmla="*/ 5471835 h 5471835"/>
              <a:gd name="connsiteX29" fmla="*/ 3021668 w 5505976"/>
              <a:gd name="connsiteY29" fmla="*/ 5443612 h 5471835"/>
              <a:gd name="connsiteX30" fmla="*/ 3402668 w 5505976"/>
              <a:gd name="connsiteY30" fmla="*/ 5231946 h 5471835"/>
              <a:gd name="connsiteX31" fmla="*/ 3487334 w 5505976"/>
              <a:gd name="connsiteY31" fmla="*/ 5147279 h 5471835"/>
              <a:gd name="connsiteX32" fmla="*/ 3529668 w 5505976"/>
              <a:gd name="connsiteY32" fmla="*/ 4977946 h 5471835"/>
              <a:gd name="connsiteX33" fmla="*/ 3600223 w 5505976"/>
              <a:gd name="connsiteY33" fmla="*/ 4469946 h 5471835"/>
              <a:gd name="connsiteX34" fmla="*/ 3670779 w 5505976"/>
              <a:gd name="connsiteY34" fmla="*/ 4314724 h 5471835"/>
              <a:gd name="connsiteX35" fmla="*/ 3741334 w 5505976"/>
              <a:gd name="connsiteY35" fmla="*/ 4187724 h 5471835"/>
              <a:gd name="connsiteX36" fmla="*/ 4065890 w 5505976"/>
              <a:gd name="connsiteY36" fmla="*/ 3947835 h 5471835"/>
              <a:gd name="connsiteX37" fmla="*/ 4291668 w 5505976"/>
              <a:gd name="connsiteY37" fmla="*/ 3820835 h 5471835"/>
              <a:gd name="connsiteX38" fmla="*/ 4517446 w 5505976"/>
              <a:gd name="connsiteY38" fmla="*/ 3693835 h 5471835"/>
              <a:gd name="connsiteX39" fmla="*/ 4715001 w 5505976"/>
              <a:gd name="connsiteY39" fmla="*/ 3580946 h 5471835"/>
              <a:gd name="connsiteX40" fmla="*/ 4870223 w 5505976"/>
              <a:gd name="connsiteY40" fmla="*/ 3482168 h 5471835"/>
              <a:gd name="connsiteX41" fmla="*/ 5237112 w 5505976"/>
              <a:gd name="connsiteY41" fmla="*/ 3298724 h 5471835"/>
              <a:gd name="connsiteX42" fmla="*/ 5350001 w 5505976"/>
              <a:gd name="connsiteY42" fmla="*/ 3101168 h 5471835"/>
              <a:gd name="connsiteX43" fmla="*/ 5420557 w 5505976"/>
              <a:gd name="connsiteY43" fmla="*/ 2663724 h 5471835"/>
              <a:gd name="connsiteX44" fmla="*/ 5505223 w 5505976"/>
              <a:gd name="connsiteY44" fmla="*/ 2240390 h 5471835"/>
              <a:gd name="connsiteX45" fmla="*/ 5462890 w 5505976"/>
              <a:gd name="connsiteY45" fmla="*/ 1633612 h 5471835"/>
              <a:gd name="connsiteX46" fmla="*/ 5477001 w 5505976"/>
              <a:gd name="connsiteY46" fmla="*/ 1111502 h 5471835"/>
              <a:gd name="connsiteX47" fmla="*/ 5420557 w 5505976"/>
              <a:gd name="connsiteY47" fmla="*/ 829279 h 5471835"/>
              <a:gd name="connsiteX48" fmla="*/ 5350002 w 5505976"/>
              <a:gd name="connsiteY48" fmla="*/ 490612 h 5471835"/>
              <a:gd name="connsiteX49" fmla="*/ 5208889 w 5505976"/>
              <a:gd name="connsiteY49" fmla="*/ 236613 h 5471835"/>
              <a:gd name="connsiteX50" fmla="*/ 4700889 w 5505976"/>
              <a:gd name="connsiteY50" fmla="*/ 10834 h 5471835"/>
              <a:gd name="connsiteX51" fmla="*/ 4164668 w 5505976"/>
              <a:gd name="connsiteY51" fmla="*/ 39057 h 5471835"/>
              <a:gd name="connsiteX52" fmla="*/ 3600223 w 5505976"/>
              <a:gd name="connsiteY52" fmla="*/ 321279 h 5471835"/>
              <a:gd name="connsiteX53" fmla="*/ 3473223 w 5505976"/>
              <a:gd name="connsiteY53" fmla="*/ 377724 h 5471835"/>
              <a:gd name="connsiteX54" fmla="*/ 3318001 w 5505976"/>
              <a:gd name="connsiteY54" fmla="*/ 617612 h 5471835"/>
              <a:gd name="connsiteX55" fmla="*/ 3148668 w 5505976"/>
              <a:gd name="connsiteY55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2852334 w 5505976"/>
              <a:gd name="connsiteY5" fmla="*/ 2522612 h 5471835"/>
              <a:gd name="connsiteX6" fmla="*/ 2654779 w 5505976"/>
              <a:gd name="connsiteY6" fmla="*/ 2691946 h 5471835"/>
              <a:gd name="connsiteX7" fmla="*/ 2330223 w 5505976"/>
              <a:gd name="connsiteY7" fmla="*/ 2960057 h 5471835"/>
              <a:gd name="connsiteX8" fmla="*/ 2118557 w 5505976"/>
              <a:gd name="connsiteY8" fmla="*/ 3044724 h 5471835"/>
              <a:gd name="connsiteX9" fmla="*/ 2033890 w 5505976"/>
              <a:gd name="connsiteY9" fmla="*/ 3058835 h 5471835"/>
              <a:gd name="connsiteX10" fmla="*/ 1723446 w 5505976"/>
              <a:gd name="connsiteY10" fmla="*/ 3101168 h 5471835"/>
              <a:gd name="connsiteX11" fmla="*/ 1878668 w 5505976"/>
              <a:gd name="connsiteY11" fmla="*/ 3242281 h 5471835"/>
              <a:gd name="connsiteX12" fmla="*/ 1286001 w 5505976"/>
              <a:gd name="connsiteY12" fmla="*/ 3143501 h 5471835"/>
              <a:gd name="connsiteX13" fmla="*/ 1017890 w 5505976"/>
              <a:gd name="connsiteY13" fmla="*/ 3185835 h 5471835"/>
              <a:gd name="connsiteX14" fmla="*/ 749779 w 5505976"/>
              <a:gd name="connsiteY14" fmla="*/ 3228168 h 5471835"/>
              <a:gd name="connsiteX15" fmla="*/ 651001 w 5505976"/>
              <a:gd name="connsiteY15" fmla="*/ 3298724 h 5471835"/>
              <a:gd name="connsiteX16" fmla="*/ 453446 w 5505976"/>
              <a:gd name="connsiteY16" fmla="*/ 3411612 h 5471835"/>
              <a:gd name="connsiteX17" fmla="*/ 340557 w 5505976"/>
              <a:gd name="connsiteY17" fmla="*/ 3496279 h 5471835"/>
              <a:gd name="connsiteX18" fmla="*/ 171223 w 5505976"/>
              <a:gd name="connsiteY18" fmla="*/ 3707946 h 5471835"/>
              <a:gd name="connsiteX19" fmla="*/ 157112 w 5505976"/>
              <a:gd name="connsiteY19" fmla="*/ 3764390 h 5471835"/>
              <a:gd name="connsiteX20" fmla="*/ 16001 w 5505976"/>
              <a:gd name="connsiteY20" fmla="*/ 4074835 h 5471835"/>
              <a:gd name="connsiteX21" fmla="*/ 1890 w 5505976"/>
              <a:gd name="connsiteY21" fmla="*/ 4272390 h 5471835"/>
              <a:gd name="connsiteX22" fmla="*/ 72446 w 5505976"/>
              <a:gd name="connsiteY22" fmla="*/ 4568724 h 5471835"/>
              <a:gd name="connsiteX23" fmla="*/ 241779 w 5505976"/>
              <a:gd name="connsiteY23" fmla="*/ 4752168 h 5471835"/>
              <a:gd name="connsiteX24" fmla="*/ 524001 w 5505976"/>
              <a:gd name="connsiteY24" fmla="*/ 4963835 h 5471835"/>
              <a:gd name="connsiteX25" fmla="*/ 763890 w 5505976"/>
              <a:gd name="connsiteY25" fmla="*/ 5076724 h 5471835"/>
              <a:gd name="connsiteX26" fmla="*/ 1102557 w 5505976"/>
              <a:gd name="connsiteY26" fmla="*/ 5260168 h 5471835"/>
              <a:gd name="connsiteX27" fmla="*/ 1427112 w 5505976"/>
              <a:gd name="connsiteY27" fmla="*/ 5401279 h 5471835"/>
              <a:gd name="connsiteX28" fmla="*/ 1667001 w 5505976"/>
              <a:gd name="connsiteY28" fmla="*/ 5443612 h 5471835"/>
              <a:gd name="connsiteX29" fmla="*/ 2287890 w 5505976"/>
              <a:gd name="connsiteY29" fmla="*/ 5471835 h 5471835"/>
              <a:gd name="connsiteX30" fmla="*/ 3021668 w 5505976"/>
              <a:gd name="connsiteY30" fmla="*/ 5443612 h 5471835"/>
              <a:gd name="connsiteX31" fmla="*/ 3402668 w 5505976"/>
              <a:gd name="connsiteY31" fmla="*/ 5231946 h 5471835"/>
              <a:gd name="connsiteX32" fmla="*/ 3487334 w 5505976"/>
              <a:gd name="connsiteY32" fmla="*/ 5147279 h 5471835"/>
              <a:gd name="connsiteX33" fmla="*/ 3529668 w 5505976"/>
              <a:gd name="connsiteY33" fmla="*/ 4977946 h 5471835"/>
              <a:gd name="connsiteX34" fmla="*/ 3600223 w 5505976"/>
              <a:gd name="connsiteY34" fmla="*/ 4469946 h 5471835"/>
              <a:gd name="connsiteX35" fmla="*/ 3670779 w 5505976"/>
              <a:gd name="connsiteY35" fmla="*/ 4314724 h 5471835"/>
              <a:gd name="connsiteX36" fmla="*/ 3741334 w 5505976"/>
              <a:gd name="connsiteY36" fmla="*/ 4187724 h 5471835"/>
              <a:gd name="connsiteX37" fmla="*/ 4065890 w 5505976"/>
              <a:gd name="connsiteY37" fmla="*/ 3947835 h 5471835"/>
              <a:gd name="connsiteX38" fmla="*/ 4291668 w 5505976"/>
              <a:gd name="connsiteY38" fmla="*/ 3820835 h 5471835"/>
              <a:gd name="connsiteX39" fmla="*/ 4517446 w 5505976"/>
              <a:gd name="connsiteY39" fmla="*/ 3693835 h 5471835"/>
              <a:gd name="connsiteX40" fmla="*/ 4715001 w 5505976"/>
              <a:gd name="connsiteY40" fmla="*/ 3580946 h 5471835"/>
              <a:gd name="connsiteX41" fmla="*/ 4870223 w 5505976"/>
              <a:gd name="connsiteY41" fmla="*/ 3482168 h 5471835"/>
              <a:gd name="connsiteX42" fmla="*/ 5237112 w 5505976"/>
              <a:gd name="connsiteY42" fmla="*/ 3298724 h 5471835"/>
              <a:gd name="connsiteX43" fmla="*/ 5350001 w 5505976"/>
              <a:gd name="connsiteY43" fmla="*/ 3101168 h 5471835"/>
              <a:gd name="connsiteX44" fmla="*/ 5420557 w 5505976"/>
              <a:gd name="connsiteY44" fmla="*/ 2663724 h 5471835"/>
              <a:gd name="connsiteX45" fmla="*/ 5505223 w 5505976"/>
              <a:gd name="connsiteY45" fmla="*/ 2240390 h 5471835"/>
              <a:gd name="connsiteX46" fmla="*/ 5462890 w 5505976"/>
              <a:gd name="connsiteY46" fmla="*/ 1633612 h 5471835"/>
              <a:gd name="connsiteX47" fmla="*/ 5477001 w 5505976"/>
              <a:gd name="connsiteY47" fmla="*/ 1111502 h 5471835"/>
              <a:gd name="connsiteX48" fmla="*/ 5420557 w 5505976"/>
              <a:gd name="connsiteY48" fmla="*/ 829279 h 5471835"/>
              <a:gd name="connsiteX49" fmla="*/ 5350002 w 5505976"/>
              <a:gd name="connsiteY49" fmla="*/ 490612 h 5471835"/>
              <a:gd name="connsiteX50" fmla="*/ 5208889 w 5505976"/>
              <a:gd name="connsiteY50" fmla="*/ 236613 h 5471835"/>
              <a:gd name="connsiteX51" fmla="*/ 4700889 w 5505976"/>
              <a:gd name="connsiteY51" fmla="*/ 10834 h 5471835"/>
              <a:gd name="connsiteX52" fmla="*/ 4164668 w 5505976"/>
              <a:gd name="connsiteY52" fmla="*/ 39057 h 5471835"/>
              <a:gd name="connsiteX53" fmla="*/ 3600223 w 5505976"/>
              <a:gd name="connsiteY53" fmla="*/ 321279 h 5471835"/>
              <a:gd name="connsiteX54" fmla="*/ 3473223 w 5505976"/>
              <a:gd name="connsiteY54" fmla="*/ 377724 h 5471835"/>
              <a:gd name="connsiteX55" fmla="*/ 3318001 w 5505976"/>
              <a:gd name="connsiteY55" fmla="*/ 617612 h 5471835"/>
              <a:gd name="connsiteX56" fmla="*/ 3148668 w 5505976"/>
              <a:gd name="connsiteY56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2852334 w 5505976"/>
              <a:gd name="connsiteY5" fmla="*/ 2522612 h 5471835"/>
              <a:gd name="connsiteX6" fmla="*/ 2654779 w 5505976"/>
              <a:gd name="connsiteY6" fmla="*/ 2691946 h 5471835"/>
              <a:gd name="connsiteX7" fmla="*/ 2330223 w 5505976"/>
              <a:gd name="connsiteY7" fmla="*/ 2960057 h 5471835"/>
              <a:gd name="connsiteX8" fmla="*/ 2118557 w 5505976"/>
              <a:gd name="connsiteY8" fmla="*/ 3044724 h 5471835"/>
              <a:gd name="connsiteX9" fmla="*/ 2033890 w 5505976"/>
              <a:gd name="connsiteY9" fmla="*/ 3058835 h 5471835"/>
              <a:gd name="connsiteX10" fmla="*/ 1723446 w 5505976"/>
              <a:gd name="connsiteY10" fmla="*/ 3101168 h 5471835"/>
              <a:gd name="connsiteX11" fmla="*/ 1286001 w 5505976"/>
              <a:gd name="connsiteY11" fmla="*/ 3143501 h 5471835"/>
              <a:gd name="connsiteX12" fmla="*/ 1017890 w 5505976"/>
              <a:gd name="connsiteY12" fmla="*/ 3185835 h 5471835"/>
              <a:gd name="connsiteX13" fmla="*/ 749779 w 5505976"/>
              <a:gd name="connsiteY13" fmla="*/ 3228168 h 5471835"/>
              <a:gd name="connsiteX14" fmla="*/ 651001 w 5505976"/>
              <a:gd name="connsiteY14" fmla="*/ 3298724 h 5471835"/>
              <a:gd name="connsiteX15" fmla="*/ 453446 w 5505976"/>
              <a:gd name="connsiteY15" fmla="*/ 3411612 h 5471835"/>
              <a:gd name="connsiteX16" fmla="*/ 340557 w 5505976"/>
              <a:gd name="connsiteY16" fmla="*/ 3496279 h 5471835"/>
              <a:gd name="connsiteX17" fmla="*/ 171223 w 5505976"/>
              <a:gd name="connsiteY17" fmla="*/ 3707946 h 5471835"/>
              <a:gd name="connsiteX18" fmla="*/ 157112 w 5505976"/>
              <a:gd name="connsiteY18" fmla="*/ 3764390 h 5471835"/>
              <a:gd name="connsiteX19" fmla="*/ 16001 w 5505976"/>
              <a:gd name="connsiteY19" fmla="*/ 4074835 h 5471835"/>
              <a:gd name="connsiteX20" fmla="*/ 1890 w 5505976"/>
              <a:gd name="connsiteY20" fmla="*/ 4272390 h 5471835"/>
              <a:gd name="connsiteX21" fmla="*/ 72446 w 5505976"/>
              <a:gd name="connsiteY21" fmla="*/ 4568724 h 5471835"/>
              <a:gd name="connsiteX22" fmla="*/ 241779 w 5505976"/>
              <a:gd name="connsiteY22" fmla="*/ 4752168 h 5471835"/>
              <a:gd name="connsiteX23" fmla="*/ 524001 w 5505976"/>
              <a:gd name="connsiteY23" fmla="*/ 4963835 h 5471835"/>
              <a:gd name="connsiteX24" fmla="*/ 763890 w 5505976"/>
              <a:gd name="connsiteY24" fmla="*/ 5076724 h 5471835"/>
              <a:gd name="connsiteX25" fmla="*/ 1102557 w 5505976"/>
              <a:gd name="connsiteY25" fmla="*/ 5260168 h 5471835"/>
              <a:gd name="connsiteX26" fmla="*/ 1427112 w 5505976"/>
              <a:gd name="connsiteY26" fmla="*/ 5401279 h 5471835"/>
              <a:gd name="connsiteX27" fmla="*/ 1667001 w 5505976"/>
              <a:gd name="connsiteY27" fmla="*/ 5443612 h 5471835"/>
              <a:gd name="connsiteX28" fmla="*/ 2287890 w 5505976"/>
              <a:gd name="connsiteY28" fmla="*/ 5471835 h 5471835"/>
              <a:gd name="connsiteX29" fmla="*/ 3021668 w 5505976"/>
              <a:gd name="connsiteY29" fmla="*/ 5443612 h 5471835"/>
              <a:gd name="connsiteX30" fmla="*/ 3402668 w 5505976"/>
              <a:gd name="connsiteY30" fmla="*/ 5231946 h 5471835"/>
              <a:gd name="connsiteX31" fmla="*/ 3487334 w 5505976"/>
              <a:gd name="connsiteY31" fmla="*/ 5147279 h 5471835"/>
              <a:gd name="connsiteX32" fmla="*/ 3529668 w 5505976"/>
              <a:gd name="connsiteY32" fmla="*/ 4977946 h 5471835"/>
              <a:gd name="connsiteX33" fmla="*/ 3600223 w 5505976"/>
              <a:gd name="connsiteY33" fmla="*/ 4469946 h 5471835"/>
              <a:gd name="connsiteX34" fmla="*/ 3670779 w 5505976"/>
              <a:gd name="connsiteY34" fmla="*/ 4314724 h 5471835"/>
              <a:gd name="connsiteX35" fmla="*/ 3741334 w 5505976"/>
              <a:gd name="connsiteY35" fmla="*/ 4187724 h 5471835"/>
              <a:gd name="connsiteX36" fmla="*/ 4065890 w 5505976"/>
              <a:gd name="connsiteY36" fmla="*/ 3947835 h 5471835"/>
              <a:gd name="connsiteX37" fmla="*/ 4291668 w 5505976"/>
              <a:gd name="connsiteY37" fmla="*/ 3820835 h 5471835"/>
              <a:gd name="connsiteX38" fmla="*/ 4517446 w 5505976"/>
              <a:gd name="connsiteY38" fmla="*/ 3693835 h 5471835"/>
              <a:gd name="connsiteX39" fmla="*/ 4715001 w 5505976"/>
              <a:gd name="connsiteY39" fmla="*/ 3580946 h 5471835"/>
              <a:gd name="connsiteX40" fmla="*/ 4870223 w 5505976"/>
              <a:gd name="connsiteY40" fmla="*/ 3482168 h 5471835"/>
              <a:gd name="connsiteX41" fmla="*/ 5237112 w 5505976"/>
              <a:gd name="connsiteY41" fmla="*/ 3298724 h 5471835"/>
              <a:gd name="connsiteX42" fmla="*/ 5350001 w 5505976"/>
              <a:gd name="connsiteY42" fmla="*/ 3101168 h 5471835"/>
              <a:gd name="connsiteX43" fmla="*/ 5420557 w 5505976"/>
              <a:gd name="connsiteY43" fmla="*/ 2663724 h 5471835"/>
              <a:gd name="connsiteX44" fmla="*/ 5505223 w 5505976"/>
              <a:gd name="connsiteY44" fmla="*/ 2240390 h 5471835"/>
              <a:gd name="connsiteX45" fmla="*/ 5462890 w 5505976"/>
              <a:gd name="connsiteY45" fmla="*/ 1633612 h 5471835"/>
              <a:gd name="connsiteX46" fmla="*/ 5477001 w 5505976"/>
              <a:gd name="connsiteY46" fmla="*/ 1111502 h 5471835"/>
              <a:gd name="connsiteX47" fmla="*/ 5420557 w 5505976"/>
              <a:gd name="connsiteY47" fmla="*/ 829279 h 5471835"/>
              <a:gd name="connsiteX48" fmla="*/ 5350002 w 5505976"/>
              <a:gd name="connsiteY48" fmla="*/ 490612 h 5471835"/>
              <a:gd name="connsiteX49" fmla="*/ 5208889 w 5505976"/>
              <a:gd name="connsiteY49" fmla="*/ 236613 h 5471835"/>
              <a:gd name="connsiteX50" fmla="*/ 4700889 w 5505976"/>
              <a:gd name="connsiteY50" fmla="*/ 10834 h 5471835"/>
              <a:gd name="connsiteX51" fmla="*/ 4164668 w 5505976"/>
              <a:gd name="connsiteY51" fmla="*/ 39057 h 5471835"/>
              <a:gd name="connsiteX52" fmla="*/ 3600223 w 5505976"/>
              <a:gd name="connsiteY52" fmla="*/ 321279 h 5471835"/>
              <a:gd name="connsiteX53" fmla="*/ 3473223 w 5505976"/>
              <a:gd name="connsiteY53" fmla="*/ 377724 h 5471835"/>
              <a:gd name="connsiteX54" fmla="*/ 3318001 w 5505976"/>
              <a:gd name="connsiteY54" fmla="*/ 617612 h 5471835"/>
              <a:gd name="connsiteX55" fmla="*/ 3148668 w 5505976"/>
              <a:gd name="connsiteY55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2852334 w 5505976"/>
              <a:gd name="connsiteY5" fmla="*/ 2522612 h 5471835"/>
              <a:gd name="connsiteX6" fmla="*/ 2654779 w 5505976"/>
              <a:gd name="connsiteY6" fmla="*/ 2691946 h 5471835"/>
              <a:gd name="connsiteX7" fmla="*/ 2330223 w 5505976"/>
              <a:gd name="connsiteY7" fmla="*/ 2960057 h 5471835"/>
              <a:gd name="connsiteX8" fmla="*/ 2118557 w 5505976"/>
              <a:gd name="connsiteY8" fmla="*/ 3044724 h 5471835"/>
              <a:gd name="connsiteX9" fmla="*/ 2033890 w 5505976"/>
              <a:gd name="connsiteY9" fmla="*/ 3058835 h 5471835"/>
              <a:gd name="connsiteX10" fmla="*/ 1723446 w 5505976"/>
              <a:gd name="connsiteY10" fmla="*/ 3101168 h 5471835"/>
              <a:gd name="connsiteX11" fmla="*/ 1286001 w 5505976"/>
              <a:gd name="connsiteY11" fmla="*/ 3143501 h 5471835"/>
              <a:gd name="connsiteX12" fmla="*/ 1017890 w 5505976"/>
              <a:gd name="connsiteY12" fmla="*/ 3185835 h 5471835"/>
              <a:gd name="connsiteX13" fmla="*/ 651001 w 5505976"/>
              <a:gd name="connsiteY13" fmla="*/ 3298724 h 5471835"/>
              <a:gd name="connsiteX14" fmla="*/ 453446 w 5505976"/>
              <a:gd name="connsiteY14" fmla="*/ 3411612 h 5471835"/>
              <a:gd name="connsiteX15" fmla="*/ 340557 w 5505976"/>
              <a:gd name="connsiteY15" fmla="*/ 3496279 h 5471835"/>
              <a:gd name="connsiteX16" fmla="*/ 171223 w 5505976"/>
              <a:gd name="connsiteY16" fmla="*/ 3707946 h 5471835"/>
              <a:gd name="connsiteX17" fmla="*/ 157112 w 5505976"/>
              <a:gd name="connsiteY17" fmla="*/ 3764390 h 5471835"/>
              <a:gd name="connsiteX18" fmla="*/ 16001 w 5505976"/>
              <a:gd name="connsiteY18" fmla="*/ 4074835 h 5471835"/>
              <a:gd name="connsiteX19" fmla="*/ 1890 w 5505976"/>
              <a:gd name="connsiteY19" fmla="*/ 4272390 h 5471835"/>
              <a:gd name="connsiteX20" fmla="*/ 72446 w 5505976"/>
              <a:gd name="connsiteY20" fmla="*/ 4568724 h 5471835"/>
              <a:gd name="connsiteX21" fmla="*/ 241779 w 5505976"/>
              <a:gd name="connsiteY21" fmla="*/ 4752168 h 5471835"/>
              <a:gd name="connsiteX22" fmla="*/ 524001 w 5505976"/>
              <a:gd name="connsiteY22" fmla="*/ 4963835 h 5471835"/>
              <a:gd name="connsiteX23" fmla="*/ 763890 w 5505976"/>
              <a:gd name="connsiteY23" fmla="*/ 5076724 h 5471835"/>
              <a:gd name="connsiteX24" fmla="*/ 1102557 w 5505976"/>
              <a:gd name="connsiteY24" fmla="*/ 5260168 h 5471835"/>
              <a:gd name="connsiteX25" fmla="*/ 1427112 w 5505976"/>
              <a:gd name="connsiteY25" fmla="*/ 5401279 h 5471835"/>
              <a:gd name="connsiteX26" fmla="*/ 1667001 w 5505976"/>
              <a:gd name="connsiteY26" fmla="*/ 5443612 h 5471835"/>
              <a:gd name="connsiteX27" fmla="*/ 2287890 w 5505976"/>
              <a:gd name="connsiteY27" fmla="*/ 5471835 h 5471835"/>
              <a:gd name="connsiteX28" fmla="*/ 3021668 w 5505976"/>
              <a:gd name="connsiteY28" fmla="*/ 5443612 h 5471835"/>
              <a:gd name="connsiteX29" fmla="*/ 3402668 w 5505976"/>
              <a:gd name="connsiteY29" fmla="*/ 5231946 h 5471835"/>
              <a:gd name="connsiteX30" fmla="*/ 3487334 w 5505976"/>
              <a:gd name="connsiteY30" fmla="*/ 5147279 h 5471835"/>
              <a:gd name="connsiteX31" fmla="*/ 3529668 w 5505976"/>
              <a:gd name="connsiteY31" fmla="*/ 4977946 h 5471835"/>
              <a:gd name="connsiteX32" fmla="*/ 3600223 w 5505976"/>
              <a:gd name="connsiteY32" fmla="*/ 4469946 h 5471835"/>
              <a:gd name="connsiteX33" fmla="*/ 3670779 w 5505976"/>
              <a:gd name="connsiteY33" fmla="*/ 4314724 h 5471835"/>
              <a:gd name="connsiteX34" fmla="*/ 3741334 w 5505976"/>
              <a:gd name="connsiteY34" fmla="*/ 4187724 h 5471835"/>
              <a:gd name="connsiteX35" fmla="*/ 4065890 w 5505976"/>
              <a:gd name="connsiteY35" fmla="*/ 3947835 h 5471835"/>
              <a:gd name="connsiteX36" fmla="*/ 4291668 w 5505976"/>
              <a:gd name="connsiteY36" fmla="*/ 3820835 h 5471835"/>
              <a:gd name="connsiteX37" fmla="*/ 4517446 w 5505976"/>
              <a:gd name="connsiteY37" fmla="*/ 3693835 h 5471835"/>
              <a:gd name="connsiteX38" fmla="*/ 4715001 w 5505976"/>
              <a:gd name="connsiteY38" fmla="*/ 3580946 h 5471835"/>
              <a:gd name="connsiteX39" fmla="*/ 4870223 w 5505976"/>
              <a:gd name="connsiteY39" fmla="*/ 3482168 h 5471835"/>
              <a:gd name="connsiteX40" fmla="*/ 5237112 w 5505976"/>
              <a:gd name="connsiteY40" fmla="*/ 3298724 h 5471835"/>
              <a:gd name="connsiteX41" fmla="*/ 5350001 w 5505976"/>
              <a:gd name="connsiteY41" fmla="*/ 3101168 h 5471835"/>
              <a:gd name="connsiteX42" fmla="*/ 5420557 w 5505976"/>
              <a:gd name="connsiteY42" fmla="*/ 2663724 h 5471835"/>
              <a:gd name="connsiteX43" fmla="*/ 5505223 w 5505976"/>
              <a:gd name="connsiteY43" fmla="*/ 2240390 h 5471835"/>
              <a:gd name="connsiteX44" fmla="*/ 5462890 w 5505976"/>
              <a:gd name="connsiteY44" fmla="*/ 1633612 h 5471835"/>
              <a:gd name="connsiteX45" fmla="*/ 5477001 w 5505976"/>
              <a:gd name="connsiteY45" fmla="*/ 1111502 h 5471835"/>
              <a:gd name="connsiteX46" fmla="*/ 5420557 w 5505976"/>
              <a:gd name="connsiteY46" fmla="*/ 829279 h 5471835"/>
              <a:gd name="connsiteX47" fmla="*/ 5350002 w 5505976"/>
              <a:gd name="connsiteY47" fmla="*/ 490612 h 5471835"/>
              <a:gd name="connsiteX48" fmla="*/ 5208889 w 5505976"/>
              <a:gd name="connsiteY48" fmla="*/ 236613 h 5471835"/>
              <a:gd name="connsiteX49" fmla="*/ 4700889 w 5505976"/>
              <a:gd name="connsiteY49" fmla="*/ 10834 h 5471835"/>
              <a:gd name="connsiteX50" fmla="*/ 4164668 w 5505976"/>
              <a:gd name="connsiteY50" fmla="*/ 39057 h 5471835"/>
              <a:gd name="connsiteX51" fmla="*/ 3600223 w 5505976"/>
              <a:gd name="connsiteY51" fmla="*/ 321279 h 5471835"/>
              <a:gd name="connsiteX52" fmla="*/ 3473223 w 5505976"/>
              <a:gd name="connsiteY52" fmla="*/ 377724 h 5471835"/>
              <a:gd name="connsiteX53" fmla="*/ 3318001 w 5505976"/>
              <a:gd name="connsiteY53" fmla="*/ 617612 h 5471835"/>
              <a:gd name="connsiteX54" fmla="*/ 3148668 w 5505976"/>
              <a:gd name="connsiteY54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2852334 w 5505976"/>
              <a:gd name="connsiteY5" fmla="*/ 2522612 h 5471835"/>
              <a:gd name="connsiteX6" fmla="*/ 2654779 w 5505976"/>
              <a:gd name="connsiteY6" fmla="*/ 2691946 h 5471835"/>
              <a:gd name="connsiteX7" fmla="*/ 2330223 w 5505976"/>
              <a:gd name="connsiteY7" fmla="*/ 2960057 h 5471835"/>
              <a:gd name="connsiteX8" fmla="*/ 2118557 w 5505976"/>
              <a:gd name="connsiteY8" fmla="*/ 3044724 h 5471835"/>
              <a:gd name="connsiteX9" fmla="*/ 2033890 w 5505976"/>
              <a:gd name="connsiteY9" fmla="*/ 3058835 h 5471835"/>
              <a:gd name="connsiteX10" fmla="*/ 1723446 w 5505976"/>
              <a:gd name="connsiteY10" fmla="*/ 3101168 h 5471835"/>
              <a:gd name="connsiteX11" fmla="*/ 1286001 w 5505976"/>
              <a:gd name="connsiteY11" fmla="*/ 3143501 h 5471835"/>
              <a:gd name="connsiteX12" fmla="*/ 1017890 w 5505976"/>
              <a:gd name="connsiteY12" fmla="*/ 3185835 h 5471835"/>
              <a:gd name="connsiteX13" fmla="*/ 651001 w 5505976"/>
              <a:gd name="connsiteY13" fmla="*/ 3298724 h 5471835"/>
              <a:gd name="connsiteX14" fmla="*/ 340557 w 5505976"/>
              <a:gd name="connsiteY14" fmla="*/ 3496279 h 5471835"/>
              <a:gd name="connsiteX15" fmla="*/ 171223 w 5505976"/>
              <a:gd name="connsiteY15" fmla="*/ 3707946 h 5471835"/>
              <a:gd name="connsiteX16" fmla="*/ 157112 w 5505976"/>
              <a:gd name="connsiteY16" fmla="*/ 3764390 h 5471835"/>
              <a:gd name="connsiteX17" fmla="*/ 16001 w 5505976"/>
              <a:gd name="connsiteY17" fmla="*/ 4074835 h 5471835"/>
              <a:gd name="connsiteX18" fmla="*/ 1890 w 5505976"/>
              <a:gd name="connsiteY18" fmla="*/ 4272390 h 5471835"/>
              <a:gd name="connsiteX19" fmla="*/ 72446 w 5505976"/>
              <a:gd name="connsiteY19" fmla="*/ 4568724 h 5471835"/>
              <a:gd name="connsiteX20" fmla="*/ 241779 w 5505976"/>
              <a:gd name="connsiteY20" fmla="*/ 4752168 h 5471835"/>
              <a:gd name="connsiteX21" fmla="*/ 524001 w 5505976"/>
              <a:gd name="connsiteY21" fmla="*/ 4963835 h 5471835"/>
              <a:gd name="connsiteX22" fmla="*/ 763890 w 5505976"/>
              <a:gd name="connsiteY22" fmla="*/ 5076724 h 5471835"/>
              <a:gd name="connsiteX23" fmla="*/ 1102557 w 5505976"/>
              <a:gd name="connsiteY23" fmla="*/ 5260168 h 5471835"/>
              <a:gd name="connsiteX24" fmla="*/ 1427112 w 5505976"/>
              <a:gd name="connsiteY24" fmla="*/ 5401279 h 5471835"/>
              <a:gd name="connsiteX25" fmla="*/ 1667001 w 5505976"/>
              <a:gd name="connsiteY25" fmla="*/ 5443612 h 5471835"/>
              <a:gd name="connsiteX26" fmla="*/ 2287890 w 5505976"/>
              <a:gd name="connsiteY26" fmla="*/ 5471835 h 5471835"/>
              <a:gd name="connsiteX27" fmla="*/ 3021668 w 5505976"/>
              <a:gd name="connsiteY27" fmla="*/ 5443612 h 5471835"/>
              <a:gd name="connsiteX28" fmla="*/ 3402668 w 5505976"/>
              <a:gd name="connsiteY28" fmla="*/ 5231946 h 5471835"/>
              <a:gd name="connsiteX29" fmla="*/ 3487334 w 5505976"/>
              <a:gd name="connsiteY29" fmla="*/ 5147279 h 5471835"/>
              <a:gd name="connsiteX30" fmla="*/ 3529668 w 5505976"/>
              <a:gd name="connsiteY30" fmla="*/ 4977946 h 5471835"/>
              <a:gd name="connsiteX31" fmla="*/ 3600223 w 5505976"/>
              <a:gd name="connsiteY31" fmla="*/ 4469946 h 5471835"/>
              <a:gd name="connsiteX32" fmla="*/ 3670779 w 5505976"/>
              <a:gd name="connsiteY32" fmla="*/ 4314724 h 5471835"/>
              <a:gd name="connsiteX33" fmla="*/ 3741334 w 5505976"/>
              <a:gd name="connsiteY33" fmla="*/ 4187724 h 5471835"/>
              <a:gd name="connsiteX34" fmla="*/ 4065890 w 5505976"/>
              <a:gd name="connsiteY34" fmla="*/ 3947835 h 5471835"/>
              <a:gd name="connsiteX35" fmla="*/ 4291668 w 5505976"/>
              <a:gd name="connsiteY35" fmla="*/ 3820835 h 5471835"/>
              <a:gd name="connsiteX36" fmla="*/ 4517446 w 5505976"/>
              <a:gd name="connsiteY36" fmla="*/ 3693835 h 5471835"/>
              <a:gd name="connsiteX37" fmla="*/ 4715001 w 5505976"/>
              <a:gd name="connsiteY37" fmla="*/ 3580946 h 5471835"/>
              <a:gd name="connsiteX38" fmla="*/ 4870223 w 5505976"/>
              <a:gd name="connsiteY38" fmla="*/ 3482168 h 5471835"/>
              <a:gd name="connsiteX39" fmla="*/ 5237112 w 5505976"/>
              <a:gd name="connsiteY39" fmla="*/ 3298724 h 5471835"/>
              <a:gd name="connsiteX40" fmla="*/ 5350001 w 5505976"/>
              <a:gd name="connsiteY40" fmla="*/ 3101168 h 5471835"/>
              <a:gd name="connsiteX41" fmla="*/ 5420557 w 5505976"/>
              <a:gd name="connsiteY41" fmla="*/ 2663724 h 5471835"/>
              <a:gd name="connsiteX42" fmla="*/ 5505223 w 5505976"/>
              <a:gd name="connsiteY42" fmla="*/ 2240390 h 5471835"/>
              <a:gd name="connsiteX43" fmla="*/ 5462890 w 5505976"/>
              <a:gd name="connsiteY43" fmla="*/ 1633612 h 5471835"/>
              <a:gd name="connsiteX44" fmla="*/ 5477001 w 5505976"/>
              <a:gd name="connsiteY44" fmla="*/ 1111502 h 5471835"/>
              <a:gd name="connsiteX45" fmla="*/ 5420557 w 5505976"/>
              <a:gd name="connsiteY45" fmla="*/ 829279 h 5471835"/>
              <a:gd name="connsiteX46" fmla="*/ 5350002 w 5505976"/>
              <a:gd name="connsiteY46" fmla="*/ 490612 h 5471835"/>
              <a:gd name="connsiteX47" fmla="*/ 5208889 w 5505976"/>
              <a:gd name="connsiteY47" fmla="*/ 236613 h 5471835"/>
              <a:gd name="connsiteX48" fmla="*/ 4700889 w 5505976"/>
              <a:gd name="connsiteY48" fmla="*/ 10834 h 5471835"/>
              <a:gd name="connsiteX49" fmla="*/ 4164668 w 5505976"/>
              <a:gd name="connsiteY49" fmla="*/ 39057 h 5471835"/>
              <a:gd name="connsiteX50" fmla="*/ 3600223 w 5505976"/>
              <a:gd name="connsiteY50" fmla="*/ 321279 h 5471835"/>
              <a:gd name="connsiteX51" fmla="*/ 3473223 w 5505976"/>
              <a:gd name="connsiteY51" fmla="*/ 377724 h 5471835"/>
              <a:gd name="connsiteX52" fmla="*/ 3318001 w 5505976"/>
              <a:gd name="connsiteY52" fmla="*/ 617612 h 5471835"/>
              <a:gd name="connsiteX53" fmla="*/ 3148668 w 5505976"/>
              <a:gd name="connsiteY53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2852334 w 5505976"/>
              <a:gd name="connsiteY5" fmla="*/ 2522612 h 5471835"/>
              <a:gd name="connsiteX6" fmla="*/ 2654779 w 5505976"/>
              <a:gd name="connsiteY6" fmla="*/ 2691946 h 5471835"/>
              <a:gd name="connsiteX7" fmla="*/ 2330223 w 5505976"/>
              <a:gd name="connsiteY7" fmla="*/ 2960057 h 5471835"/>
              <a:gd name="connsiteX8" fmla="*/ 2118557 w 5505976"/>
              <a:gd name="connsiteY8" fmla="*/ 3044724 h 5471835"/>
              <a:gd name="connsiteX9" fmla="*/ 2033890 w 5505976"/>
              <a:gd name="connsiteY9" fmla="*/ 3058835 h 5471835"/>
              <a:gd name="connsiteX10" fmla="*/ 1723446 w 5505976"/>
              <a:gd name="connsiteY10" fmla="*/ 3101168 h 5471835"/>
              <a:gd name="connsiteX11" fmla="*/ 1286001 w 5505976"/>
              <a:gd name="connsiteY11" fmla="*/ 3143501 h 5471835"/>
              <a:gd name="connsiteX12" fmla="*/ 1017890 w 5505976"/>
              <a:gd name="connsiteY12" fmla="*/ 3185835 h 5471835"/>
              <a:gd name="connsiteX13" fmla="*/ 651001 w 5505976"/>
              <a:gd name="connsiteY13" fmla="*/ 3298724 h 5471835"/>
              <a:gd name="connsiteX14" fmla="*/ 340557 w 5505976"/>
              <a:gd name="connsiteY14" fmla="*/ 3496279 h 5471835"/>
              <a:gd name="connsiteX15" fmla="*/ 171223 w 5505976"/>
              <a:gd name="connsiteY15" fmla="*/ 3707946 h 5471835"/>
              <a:gd name="connsiteX16" fmla="*/ 16001 w 5505976"/>
              <a:gd name="connsiteY16" fmla="*/ 4074835 h 5471835"/>
              <a:gd name="connsiteX17" fmla="*/ 1890 w 5505976"/>
              <a:gd name="connsiteY17" fmla="*/ 4272390 h 5471835"/>
              <a:gd name="connsiteX18" fmla="*/ 72446 w 5505976"/>
              <a:gd name="connsiteY18" fmla="*/ 4568724 h 5471835"/>
              <a:gd name="connsiteX19" fmla="*/ 241779 w 5505976"/>
              <a:gd name="connsiteY19" fmla="*/ 4752168 h 5471835"/>
              <a:gd name="connsiteX20" fmla="*/ 524001 w 5505976"/>
              <a:gd name="connsiteY20" fmla="*/ 4963835 h 5471835"/>
              <a:gd name="connsiteX21" fmla="*/ 763890 w 5505976"/>
              <a:gd name="connsiteY21" fmla="*/ 5076724 h 5471835"/>
              <a:gd name="connsiteX22" fmla="*/ 1102557 w 5505976"/>
              <a:gd name="connsiteY22" fmla="*/ 5260168 h 5471835"/>
              <a:gd name="connsiteX23" fmla="*/ 1427112 w 5505976"/>
              <a:gd name="connsiteY23" fmla="*/ 5401279 h 5471835"/>
              <a:gd name="connsiteX24" fmla="*/ 1667001 w 5505976"/>
              <a:gd name="connsiteY24" fmla="*/ 5443612 h 5471835"/>
              <a:gd name="connsiteX25" fmla="*/ 2287890 w 5505976"/>
              <a:gd name="connsiteY25" fmla="*/ 5471835 h 5471835"/>
              <a:gd name="connsiteX26" fmla="*/ 3021668 w 5505976"/>
              <a:gd name="connsiteY26" fmla="*/ 5443612 h 5471835"/>
              <a:gd name="connsiteX27" fmla="*/ 3402668 w 5505976"/>
              <a:gd name="connsiteY27" fmla="*/ 5231946 h 5471835"/>
              <a:gd name="connsiteX28" fmla="*/ 3487334 w 5505976"/>
              <a:gd name="connsiteY28" fmla="*/ 5147279 h 5471835"/>
              <a:gd name="connsiteX29" fmla="*/ 3529668 w 5505976"/>
              <a:gd name="connsiteY29" fmla="*/ 4977946 h 5471835"/>
              <a:gd name="connsiteX30" fmla="*/ 3600223 w 5505976"/>
              <a:gd name="connsiteY30" fmla="*/ 4469946 h 5471835"/>
              <a:gd name="connsiteX31" fmla="*/ 3670779 w 5505976"/>
              <a:gd name="connsiteY31" fmla="*/ 4314724 h 5471835"/>
              <a:gd name="connsiteX32" fmla="*/ 3741334 w 5505976"/>
              <a:gd name="connsiteY32" fmla="*/ 4187724 h 5471835"/>
              <a:gd name="connsiteX33" fmla="*/ 4065890 w 5505976"/>
              <a:gd name="connsiteY33" fmla="*/ 3947835 h 5471835"/>
              <a:gd name="connsiteX34" fmla="*/ 4291668 w 5505976"/>
              <a:gd name="connsiteY34" fmla="*/ 3820835 h 5471835"/>
              <a:gd name="connsiteX35" fmla="*/ 4517446 w 5505976"/>
              <a:gd name="connsiteY35" fmla="*/ 3693835 h 5471835"/>
              <a:gd name="connsiteX36" fmla="*/ 4715001 w 5505976"/>
              <a:gd name="connsiteY36" fmla="*/ 3580946 h 5471835"/>
              <a:gd name="connsiteX37" fmla="*/ 4870223 w 5505976"/>
              <a:gd name="connsiteY37" fmla="*/ 3482168 h 5471835"/>
              <a:gd name="connsiteX38" fmla="*/ 5237112 w 5505976"/>
              <a:gd name="connsiteY38" fmla="*/ 3298724 h 5471835"/>
              <a:gd name="connsiteX39" fmla="*/ 5350001 w 5505976"/>
              <a:gd name="connsiteY39" fmla="*/ 3101168 h 5471835"/>
              <a:gd name="connsiteX40" fmla="*/ 5420557 w 5505976"/>
              <a:gd name="connsiteY40" fmla="*/ 2663724 h 5471835"/>
              <a:gd name="connsiteX41" fmla="*/ 5505223 w 5505976"/>
              <a:gd name="connsiteY41" fmla="*/ 2240390 h 5471835"/>
              <a:gd name="connsiteX42" fmla="*/ 5462890 w 5505976"/>
              <a:gd name="connsiteY42" fmla="*/ 1633612 h 5471835"/>
              <a:gd name="connsiteX43" fmla="*/ 5477001 w 5505976"/>
              <a:gd name="connsiteY43" fmla="*/ 1111502 h 5471835"/>
              <a:gd name="connsiteX44" fmla="*/ 5420557 w 5505976"/>
              <a:gd name="connsiteY44" fmla="*/ 829279 h 5471835"/>
              <a:gd name="connsiteX45" fmla="*/ 5350002 w 5505976"/>
              <a:gd name="connsiteY45" fmla="*/ 490612 h 5471835"/>
              <a:gd name="connsiteX46" fmla="*/ 5208889 w 5505976"/>
              <a:gd name="connsiteY46" fmla="*/ 236613 h 5471835"/>
              <a:gd name="connsiteX47" fmla="*/ 4700889 w 5505976"/>
              <a:gd name="connsiteY47" fmla="*/ 10834 h 5471835"/>
              <a:gd name="connsiteX48" fmla="*/ 4164668 w 5505976"/>
              <a:gd name="connsiteY48" fmla="*/ 39057 h 5471835"/>
              <a:gd name="connsiteX49" fmla="*/ 3600223 w 5505976"/>
              <a:gd name="connsiteY49" fmla="*/ 321279 h 5471835"/>
              <a:gd name="connsiteX50" fmla="*/ 3473223 w 5505976"/>
              <a:gd name="connsiteY50" fmla="*/ 377724 h 5471835"/>
              <a:gd name="connsiteX51" fmla="*/ 3318001 w 5505976"/>
              <a:gd name="connsiteY51" fmla="*/ 617612 h 5471835"/>
              <a:gd name="connsiteX52" fmla="*/ 3148668 w 5505976"/>
              <a:gd name="connsiteY52" fmla="*/ 1139723 h 5471835"/>
              <a:gd name="connsiteX0" fmla="*/ 3162779 w 5505976"/>
              <a:gd name="connsiteY0" fmla="*/ 1069168 h 5471835"/>
              <a:gd name="connsiteX1" fmla="*/ 3162779 w 5505976"/>
              <a:gd name="connsiteY1" fmla="*/ 1069168 h 5471835"/>
              <a:gd name="connsiteX2" fmla="*/ 3134557 w 5505976"/>
              <a:gd name="connsiteY2" fmla="*/ 1393724 h 5471835"/>
              <a:gd name="connsiteX3" fmla="*/ 3120446 w 5505976"/>
              <a:gd name="connsiteY3" fmla="*/ 1746501 h 5471835"/>
              <a:gd name="connsiteX4" fmla="*/ 3049890 w 5505976"/>
              <a:gd name="connsiteY4" fmla="*/ 2085168 h 5471835"/>
              <a:gd name="connsiteX5" fmla="*/ 2852334 w 5505976"/>
              <a:gd name="connsiteY5" fmla="*/ 2522612 h 5471835"/>
              <a:gd name="connsiteX6" fmla="*/ 2654779 w 5505976"/>
              <a:gd name="connsiteY6" fmla="*/ 2691946 h 5471835"/>
              <a:gd name="connsiteX7" fmla="*/ 2330223 w 5505976"/>
              <a:gd name="connsiteY7" fmla="*/ 2960057 h 5471835"/>
              <a:gd name="connsiteX8" fmla="*/ 2118557 w 5505976"/>
              <a:gd name="connsiteY8" fmla="*/ 3044724 h 5471835"/>
              <a:gd name="connsiteX9" fmla="*/ 2033890 w 5505976"/>
              <a:gd name="connsiteY9" fmla="*/ 3058835 h 5471835"/>
              <a:gd name="connsiteX10" fmla="*/ 1723446 w 5505976"/>
              <a:gd name="connsiteY10" fmla="*/ 3101168 h 5471835"/>
              <a:gd name="connsiteX11" fmla="*/ 1286001 w 5505976"/>
              <a:gd name="connsiteY11" fmla="*/ 3143501 h 5471835"/>
              <a:gd name="connsiteX12" fmla="*/ 1017890 w 5505976"/>
              <a:gd name="connsiteY12" fmla="*/ 3185835 h 5471835"/>
              <a:gd name="connsiteX13" fmla="*/ 651001 w 5505976"/>
              <a:gd name="connsiteY13" fmla="*/ 3298724 h 5471835"/>
              <a:gd name="connsiteX14" fmla="*/ 340557 w 5505976"/>
              <a:gd name="connsiteY14" fmla="*/ 3496279 h 5471835"/>
              <a:gd name="connsiteX15" fmla="*/ 171223 w 5505976"/>
              <a:gd name="connsiteY15" fmla="*/ 3707946 h 5471835"/>
              <a:gd name="connsiteX16" fmla="*/ 16001 w 5505976"/>
              <a:gd name="connsiteY16" fmla="*/ 4074835 h 5471835"/>
              <a:gd name="connsiteX17" fmla="*/ 1890 w 5505976"/>
              <a:gd name="connsiteY17" fmla="*/ 4272390 h 5471835"/>
              <a:gd name="connsiteX18" fmla="*/ 72446 w 5505976"/>
              <a:gd name="connsiteY18" fmla="*/ 4568724 h 5471835"/>
              <a:gd name="connsiteX19" fmla="*/ 241779 w 5505976"/>
              <a:gd name="connsiteY19" fmla="*/ 4752168 h 5471835"/>
              <a:gd name="connsiteX20" fmla="*/ 524001 w 5505976"/>
              <a:gd name="connsiteY20" fmla="*/ 4963835 h 5471835"/>
              <a:gd name="connsiteX21" fmla="*/ 763890 w 5505976"/>
              <a:gd name="connsiteY21" fmla="*/ 5076724 h 5471835"/>
              <a:gd name="connsiteX22" fmla="*/ 1102557 w 5505976"/>
              <a:gd name="connsiteY22" fmla="*/ 5260168 h 5471835"/>
              <a:gd name="connsiteX23" fmla="*/ 1427112 w 5505976"/>
              <a:gd name="connsiteY23" fmla="*/ 5401279 h 5471835"/>
              <a:gd name="connsiteX24" fmla="*/ 1667001 w 5505976"/>
              <a:gd name="connsiteY24" fmla="*/ 5443612 h 5471835"/>
              <a:gd name="connsiteX25" fmla="*/ 2287890 w 5505976"/>
              <a:gd name="connsiteY25" fmla="*/ 5471835 h 5471835"/>
              <a:gd name="connsiteX26" fmla="*/ 3021668 w 5505976"/>
              <a:gd name="connsiteY26" fmla="*/ 5443612 h 5471835"/>
              <a:gd name="connsiteX27" fmla="*/ 3402668 w 5505976"/>
              <a:gd name="connsiteY27" fmla="*/ 5231946 h 5471835"/>
              <a:gd name="connsiteX28" fmla="*/ 3529668 w 5505976"/>
              <a:gd name="connsiteY28" fmla="*/ 4977946 h 5471835"/>
              <a:gd name="connsiteX29" fmla="*/ 3600223 w 5505976"/>
              <a:gd name="connsiteY29" fmla="*/ 4469946 h 5471835"/>
              <a:gd name="connsiteX30" fmla="*/ 3670779 w 5505976"/>
              <a:gd name="connsiteY30" fmla="*/ 4314724 h 5471835"/>
              <a:gd name="connsiteX31" fmla="*/ 3741334 w 5505976"/>
              <a:gd name="connsiteY31" fmla="*/ 4187724 h 5471835"/>
              <a:gd name="connsiteX32" fmla="*/ 4065890 w 5505976"/>
              <a:gd name="connsiteY32" fmla="*/ 3947835 h 5471835"/>
              <a:gd name="connsiteX33" fmla="*/ 4291668 w 5505976"/>
              <a:gd name="connsiteY33" fmla="*/ 3820835 h 5471835"/>
              <a:gd name="connsiteX34" fmla="*/ 4517446 w 5505976"/>
              <a:gd name="connsiteY34" fmla="*/ 3693835 h 5471835"/>
              <a:gd name="connsiteX35" fmla="*/ 4715001 w 5505976"/>
              <a:gd name="connsiteY35" fmla="*/ 3580946 h 5471835"/>
              <a:gd name="connsiteX36" fmla="*/ 4870223 w 5505976"/>
              <a:gd name="connsiteY36" fmla="*/ 3482168 h 5471835"/>
              <a:gd name="connsiteX37" fmla="*/ 5237112 w 5505976"/>
              <a:gd name="connsiteY37" fmla="*/ 3298724 h 5471835"/>
              <a:gd name="connsiteX38" fmla="*/ 5350001 w 5505976"/>
              <a:gd name="connsiteY38" fmla="*/ 3101168 h 5471835"/>
              <a:gd name="connsiteX39" fmla="*/ 5420557 w 5505976"/>
              <a:gd name="connsiteY39" fmla="*/ 2663724 h 5471835"/>
              <a:gd name="connsiteX40" fmla="*/ 5505223 w 5505976"/>
              <a:gd name="connsiteY40" fmla="*/ 2240390 h 5471835"/>
              <a:gd name="connsiteX41" fmla="*/ 5462890 w 5505976"/>
              <a:gd name="connsiteY41" fmla="*/ 1633612 h 5471835"/>
              <a:gd name="connsiteX42" fmla="*/ 5477001 w 5505976"/>
              <a:gd name="connsiteY42" fmla="*/ 1111502 h 5471835"/>
              <a:gd name="connsiteX43" fmla="*/ 5420557 w 5505976"/>
              <a:gd name="connsiteY43" fmla="*/ 829279 h 5471835"/>
              <a:gd name="connsiteX44" fmla="*/ 5350002 w 5505976"/>
              <a:gd name="connsiteY44" fmla="*/ 490612 h 5471835"/>
              <a:gd name="connsiteX45" fmla="*/ 5208889 w 5505976"/>
              <a:gd name="connsiteY45" fmla="*/ 236613 h 5471835"/>
              <a:gd name="connsiteX46" fmla="*/ 4700889 w 5505976"/>
              <a:gd name="connsiteY46" fmla="*/ 10834 h 5471835"/>
              <a:gd name="connsiteX47" fmla="*/ 4164668 w 5505976"/>
              <a:gd name="connsiteY47" fmla="*/ 39057 h 5471835"/>
              <a:gd name="connsiteX48" fmla="*/ 3600223 w 5505976"/>
              <a:gd name="connsiteY48" fmla="*/ 321279 h 5471835"/>
              <a:gd name="connsiteX49" fmla="*/ 3473223 w 5505976"/>
              <a:gd name="connsiteY49" fmla="*/ 377724 h 5471835"/>
              <a:gd name="connsiteX50" fmla="*/ 3318001 w 5505976"/>
              <a:gd name="connsiteY50" fmla="*/ 617612 h 5471835"/>
              <a:gd name="connsiteX51" fmla="*/ 3148668 w 5505976"/>
              <a:gd name="connsiteY51" fmla="*/ 1139723 h 5471835"/>
              <a:gd name="connsiteX0" fmla="*/ 3162779 w 5505976"/>
              <a:gd name="connsiteY0" fmla="*/ 1072541 h 5475208"/>
              <a:gd name="connsiteX1" fmla="*/ 3162779 w 5505976"/>
              <a:gd name="connsiteY1" fmla="*/ 1072541 h 5475208"/>
              <a:gd name="connsiteX2" fmla="*/ 3134557 w 5505976"/>
              <a:gd name="connsiteY2" fmla="*/ 1397097 h 5475208"/>
              <a:gd name="connsiteX3" fmla="*/ 3120446 w 5505976"/>
              <a:gd name="connsiteY3" fmla="*/ 1749874 h 5475208"/>
              <a:gd name="connsiteX4" fmla="*/ 3049890 w 5505976"/>
              <a:gd name="connsiteY4" fmla="*/ 2088541 h 5475208"/>
              <a:gd name="connsiteX5" fmla="*/ 2852334 w 5505976"/>
              <a:gd name="connsiteY5" fmla="*/ 2525985 h 5475208"/>
              <a:gd name="connsiteX6" fmla="*/ 2654779 w 5505976"/>
              <a:gd name="connsiteY6" fmla="*/ 2695319 h 5475208"/>
              <a:gd name="connsiteX7" fmla="*/ 2330223 w 5505976"/>
              <a:gd name="connsiteY7" fmla="*/ 2963430 h 5475208"/>
              <a:gd name="connsiteX8" fmla="*/ 2118557 w 5505976"/>
              <a:gd name="connsiteY8" fmla="*/ 3048097 h 5475208"/>
              <a:gd name="connsiteX9" fmla="*/ 2033890 w 5505976"/>
              <a:gd name="connsiteY9" fmla="*/ 3062208 h 5475208"/>
              <a:gd name="connsiteX10" fmla="*/ 1723446 w 5505976"/>
              <a:gd name="connsiteY10" fmla="*/ 3104541 h 5475208"/>
              <a:gd name="connsiteX11" fmla="*/ 1286001 w 5505976"/>
              <a:gd name="connsiteY11" fmla="*/ 3146874 h 5475208"/>
              <a:gd name="connsiteX12" fmla="*/ 1017890 w 5505976"/>
              <a:gd name="connsiteY12" fmla="*/ 3189208 h 5475208"/>
              <a:gd name="connsiteX13" fmla="*/ 651001 w 5505976"/>
              <a:gd name="connsiteY13" fmla="*/ 3302097 h 5475208"/>
              <a:gd name="connsiteX14" fmla="*/ 340557 w 5505976"/>
              <a:gd name="connsiteY14" fmla="*/ 3499652 h 5475208"/>
              <a:gd name="connsiteX15" fmla="*/ 171223 w 5505976"/>
              <a:gd name="connsiteY15" fmla="*/ 3711319 h 5475208"/>
              <a:gd name="connsiteX16" fmla="*/ 16001 w 5505976"/>
              <a:gd name="connsiteY16" fmla="*/ 4078208 h 5475208"/>
              <a:gd name="connsiteX17" fmla="*/ 1890 w 5505976"/>
              <a:gd name="connsiteY17" fmla="*/ 4275763 h 5475208"/>
              <a:gd name="connsiteX18" fmla="*/ 72446 w 5505976"/>
              <a:gd name="connsiteY18" fmla="*/ 4572097 h 5475208"/>
              <a:gd name="connsiteX19" fmla="*/ 241779 w 5505976"/>
              <a:gd name="connsiteY19" fmla="*/ 4755541 h 5475208"/>
              <a:gd name="connsiteX20" fmla="*/ 524001 w 5505976"/>
              <a:gd name="connsiteY20" fmla="*/ 4967208 h 5475208"/>
              <a:gd name="connsiteX21" fmla="*/ 763890 w 5505976"/>
              <a:gd name="connsiteY21" fmla="*/ 5080097 h 5475208"/>
              <a:gd name="connsiteX22" fmla="*/ 1102557 w 5505976"/>
              <a:gd name="connsiteY22" fmla="*/ 5263541 h 5475208"/>
              <a:gd name="connsiteX23" fmla="*/ 1427112 w 5505976"/>
              <a:gd name="connsiteY23" fmla="*/ 5404652 h 5475208"/>
              <a:gd name="connsiteX24" fmla="*/ 1667001 w 5505976"/>
              <a:gd name="connsiteY24" fmla="*/ 5446985 h 5475208"/>
              <a:gd name="connsiteX25" fmla="*/ 2287890 w 5505976"/>
              <a:gd name="connsiteY25" fmla="*/ 5475208 h 5475208"/>
              <a:gd name="connsiteX26" fmla="*/ 3021668 w 5505976"/>
              <a:gd name="connsiteY26" fmla="*/ 5446985 h 5475208"/>
              <a:gd name="connsiteX27" fmla="*/ 3402668 w 5505976"/>
              <a:gd name="connsiteY27" fmla="*/ 5235319 h 5475208"/>
              <a:gd name="connsiteX28" fmla="*/ 3529668 w 5505976"/>
              <a:gd name="connsiteY28" fmla="*/ 4981319 h 5475208"/>
              <a:gd name="connsiteX29" fmla="*/ 3600223 w 5505976"/>
              <a:gd name="connsiteY29" fmla="*/ 4473319 h 5475208"/>
              <a:gd name="connsiteX30" fmla="*/ 3670779 w 5505976"/>
              <a:gd name="connsiteY30" fmla="*/ 4318097 h 5475208"/>
              <a:gd name="connsiteX31" fmla="*/ 3741334 w 5505976"/>
              <a:gd name="connsiteY31" fmla="*/ 4191097 h 5475208"/>
              <a:gd name="connsiteX32" fmla="*/ 4065890 w 5505976"/>
              <a:gd name="connsiteY32" fmla="*/ 3951208 h 5475208"/>
              <a:gd name="connsiteX33" fmla="*/ 4291668 w 5505976"/>
              <a:gd name="connsiteY33" fmla="*/ 3824208 h 5475208"/>
              <a:gd name="connsiteX34" fmla="*/ 4517446 w 5505976"/>
              <a:gd name="connsiteY34" fmla="*/ 3697208 h 5475208"/>
              <a:gd name="connsiteX35" fmla="*/ 4715001 w 5505976"/>
              <a:gd name="connsiteY35" fmla="*/ 3584319 h 5475208"/>
              <a:gd name="connsiteX36" fmla="*/ 4870223 w 5505976"/>
              <a:gd name="connsiteY36" fmla="*/ 3485541 h 5475208"/>
              <a:gd name="connsiteX37" fmla="*/ 5237112 w 5505976"/>
              <a:gd name="connsiteY37" fmla="*/ 3302097 h 5475208"/>
              <a:gd name="connsiteX38" fmla="*/ 5350001 w 5505976"/>
              <a:gd name="connsiteY38" fmla="*/ 3104541 h 5475208"/>
              <a:gd name="connsiteX39" fmla="*/ 5420557 w 5505976"/>
              <a:gd name="connsiteY39" fmla="*/ 2667097 h 5475208"/>
              <a:gd name="connsiteX40" fmla="*/ 5505223 w 5505976"/>
              <a:gd name="connsiteY40" fmla="*/ 2243763 h 5475208"/>
              <a:gd name="connsiteX41" fmla="*/ 5462890 w 5505976"/>
              <a:gd name="connsiteY41" fmla="*/ 1636985 h 5475208"/>
              <a:gd name="connsiteX42" fmla="*/ 5477001 w 5505976"/>
              <a:gd name="connsiteY42" fmla="*/ 1114875 h 5475208"/>
              <a:gd name="connsiteX43" fmla="*/ 5420557 w 5505976"/>
              <a:gd name="connsiteY43" fmla="*/ 832652 h 5475208"/>
              <a:gd name="connsiteX44" fmla="*/ 5350002 w 5505976"/>
              <a:gd name="connsiteY44" fmla="*/ 493985 h 5475208"/>
              <a:gd name="connsiteX45" fmla="*/ 5208889 w 5505976"/>
              <a:gd name="connsiteY45" fmla="*/ 239986 h 5475208"/>
              <a:gd name="connsiteX46" fmla="*/ 4700889 w 5505976"/>
              <a:gd name="connsiteY46" fmla="*/ 14207 h 5475208"/>
              <a:gd name="connsiteX47" fmla="*/ 4164668 w 5505976"/>
              <a:gd name="connsiteY47" fmla="*/ 42430 h 5475208"/>
              <a:gd name="connsiteX48" fmla="*/ 3755446 w 5505976"/>
              <a:gd name="connsiteY48" fmla="*/ 197652 h 5475208"/>
              <a:gd name="connsiteX49" fmla="*/ 3473223 w 5505976"/>
              <a:gd name="connsiteY49" fmla="*/ 381097 h 5475208"/>
              <a:gd name="connsiteX50" fmla="*/ 3318001 w 5505976"/>
              <a:gd name="connsiteY50" fmla="*/ 620985 h 5475208"/>
              <a:gd name="connsiteX51" fmla="*/ 3148668 w 5505976"/>
              <a:gd name="connsiteY51" fmla="*/ 1143096 h 5475208"/>
              <a:gd name="connsiteX0" fmla="*/ 3162779 w 5505976"/>
              <a:gd name="connsiteY0" fmla="*/ 1072541 h 5475208"/>
              <a:gd name="connsiteX1" fmla="*/ 3162779 w 5505976"/>
              <a:gd name="connsiteY1" fmla="*/ 1072541 h 5475208"/>
              <a:gd name="connsiteX2" fmla="*/ 3134557 w 5505976"/>
              <a:gd name="connsiteY2" fmla="*/ 1397097 h 5475208"/>
              <a:gd name="connsiteX3" fmla="*/ 3120446 w 5505976"/>
              <a:gd name="connsiteY3" fmla="*/ 1749874 h 5475208"/>
              <a:gd name="connsiteX4" fmla="*/ 3049890 w 5505976"/>
              <a:gd name="connsiteY4" fmla="*/ 2088541 h 5475208"/>
              <a:gd name="connsiteX5" fmla="*/ 2852334 w 5505976"/>
              <a:gd name="connsiteY5" fmla="*/ 2525985 h 5475208"/>
              <a:gd name="connsiteX6" fmla="*/ 2330223 w 5505976"/>
              <a:gd name="connsiteY6" fmla="*/ 2963430 h 5475208"/>
              <a:gd name="connsiteX7" fmla="*/ 2118557 w 5505976"/>
              <a:gd name="connsiteY7" fmla="*/ 3048097 h 5475208"/>
              <a:gd name="connsiteX8" fmla="*/ 2033890 w 5505976"/>
              <a:gd name="connsiteY8" fmla="*/ 3062208 h 5475208"/>
              <a:gd name="connsiteX9" fmla="*/ 1723446 w 5505976"/>
              <a:gd name="connsiteY9" fmla="*/ 3104541 h 5475208"/>
              <a:gd name="connsiteX10" fmla="*/ 1286001 w 5505976"/>
              <a:gd name="connsiteY10" fmla="*/ 3146874 h 5475208"/>
              <a:gd name="connsiteX11" fmla="*/ 1017890 w 5505976"/>
              <a:gd name="connsiteY11" fmla="*/ 3189208 h 5475208"/>
              <a:gd name="connsiteX12" fmla="*/ 651001 w 5505976"/>
              <a:gd name="connsiteY12" fmla="*/ 3302097 h 5475208"/>
              <a:gd name="connsiteX13" fmla="*/ 340557 w 5505976"/>
              <a:gd name="connsiteY13" fmla="*/ 3499652 h 5475208"/>
              <a:gd name="connsiteX14" fmla="*/ 171223 w 5505976"/>
              <a:gd name="connsiteY14" fmla="*/ 3711319 h 5475208"/>
              <a:gd name="connsiteX15" fmla="*/ 16001 w 5505976"/>
              <a:gd name="connsiteY15" fmla="*/ 4078208 h 5475208"/>
              <a:gd name="connsiteX16" fmla="*/ 1890 w 5505976"/>
              <a:gd name="connsiteY16" fmla="*/ 4275763 h 5475208"/>
              <a:gd name="connsiteX17" fmla="*/ 72446 w 5505976"/>
              <a:gd name="connsiteY17" fmla="*/ 4572097 h 5475208"/>
              <a:gd name="connsiteX18" fmla="*/ 241779 w 5505976"/>
              <a:gd name="connsiteY18" fmla="*/ 4755541 h 5475208"/>
              <a:gd name="connsiteX19" fmla="*/ 524001 w 5505976"/>
              <a:gd name="connsiteY19" fmla="*/ 4967208 h 5475208"/>
              <a:gd name="connsiteX20" fmla="*/ 763890 w 5505976"/>
              <a:gd name="connsiteY20" fmla="*/ 5080097 h 5475208"/>
              <a:gd name="connsiteX21" fmla="*/ 1102557 w 5505976"/>
              <a:gd name="connsiteY21" fmla="*/ 5263541 h 5475208"/>
              <a:gd name="connsiteX22" fmla="*/ 1427112 w 5505976"/>
              <a:gd name="connsiteY22" fmla="*/ 5404652 h 5475208"/>
              <a:gd name="connsiteX23" fmla="*/ 1667001 w 5505976"/>
              <a:gd name="connsiteY23" fmla="*/ 5446985 h 5475208"/>
              <a:gd name="connsiteX24" fmla="*/ 2287890 w 5505976"/>
              <a:gd name="connsiteY24" fmla="*/ 5475208 h 5475208"/>
              <a:gd name="connsiteX25" fmla="*/ 3021668 w 5505976"/>
              <a:gd name="connsiteY25" fmla="*/ 5446985 h 5475208"/>
              <a:gd name="connsiteX26" fmla="*/ 3402668 w 5505976"/>
              <a:gd name="connsiteY26" fmla="*/ 5235319 h 5475208"/>
              <a:gd name="connsiteX27" fmla="*/ 3529668 w 5505976"/>
              <a:gd name="connsiteY27" fmla="*/ 4981319 h 5475208"/>
              <a:gd name="connsiteX28" fmla="*/ 3600223 w 5505976"/>
              <a:gd name="connsiteY28" fmla="*/ 4473319 h 5475208"/>
              <a:gd name="connsiteX29" fmla="*/ 3670779 w 5505976"/>
              <a:gd name="connsiteY29" fmla="*/ 4318097 h 5475208"/>
              <a:gd name="connsiteX30" fmla="*/ 3741334 w 5505976"/>
              <a:gd name="connsiteY30" fmla="*/ 4191097 h 5475208"/>
              <a:gd name="connsiteX31" fmla="*/ 4065890 w 5505976"/>
              <a:gd name="connsiteY31" fmla="*/ 3951208 h 5475208"/>
              <a:gd name="connsiteX32" fmla="*/ 4291668 w 5505976"/>
              <a:gd name="connsiteY32" fmla="*/ 3824208 h 5475208"/>
              <a:gd name="connsiteX33" fmla="*/ 4517446 w 5505976"/>
              <a:gd name="connsiteY33" fmla="*/ 3697208 h 5475208"/>
              <a:gd name="connsiteX34" fmla="*/ 4715001 w 5505976"/>
              <a:gd name="connsiteY34" fmla="*/ 3584319 h 5475208"/>
              <a:gd name="connsiteX35" fmla="*/ 4870223 w 5505976"/>
              <a:gd name="connsiteY35" fmla="*/ 3485541 h 5475208"/>
              <a:gd name="connsiteX36" fmla="*/ 5237112 w 5505976"/>
              <a:gd name="connsiteY36" fmla="*/ 3302097 h 5475208"/>
              <a:gd name="connsiteX37" fmla="*/ 5350001 w 5505976"/>
              <a:gd name="connsiteY37" fmla="*/ 3104541 h 5475208"/>
              <a:gd name="connsiteX38" fmla="*/ 5420557 w 5505976"/>
              <a:gd name="connsiteY38" fmla="*/ 2667097 h 5475208"/>
              <a:gd name="connsiteX39" fmla="*/ 5505223 w 5505976"/>
              <a:gd name="connsiteY39" fmla="*/ 2243763 h 5475208"/>
              <a:gd name="connsiteX40" fmla="*/ 5462890 w 5505976"/>
              <a:gd name="connsiteY40" fmla="*/ 1636985 h 5475208"/>
              <a:gd name="connsiteX41" fmla="*/ 5477001 w 5505976"/>
              <a:gd name="connsiteY41" fmla="*/ 1114875 h 5475208"/>
              <a:gd name="connsiteX42" fmla="*/ 5420557 w 5505976"/>
              <a:gd name="connsiteY42" fmla="*/ 832652 h 5475208"/>
              <a:gd name="connsiteX43" fmla="*/ 5350002 w 5505976"/>
              <a:gd name="connsiteY43" fmla="*/ 493985 h 5475208"/>
              <a:gd name="connsiteX44" fmla="*/ 5208889 w 5505976"/>
              <a:gd name="connsiteY44" fmla="*/ 239986 h 5475208"/>
              <a:gd name="connsiteX45" fmla="*/ 4700889 w 5505976"/>
              <a:gd name="connsiteY45" fmla="*/ 14207 h 5475208"/>
              <a:gd name="connsiteX46" fmla="*/ 4164668 w 5505976"/>
              <a:gd name="connsiteY46" fmla="*/ 42430 h 5475208"/>
              <a:gd name="connsiteX47" fmla="*/ 3755446 w 5505976"/>
              <a:gd name="connsiteY47" fmla="*/ 197652 h 5475208"/>
              <a:gd name="connsiteX48" fmla="*/ 3473223 w 5505976"/>
              <a:gd name="connsiteY48" fmla="*/ 381097 h 5475208"/>
              <a:gd name="connsiteX49" fmla="*/ 3318001 w 5505976"/>
              <a:gd name="connsiteY49" fmla="*/ 620985 h 5475208"/>
              <a:gd name="connsiteX50" fmla="*/ 3148668 w 5505976"/>
              <a:gd name="connsiteY50" fmla="*/ 1143096 h 5475208"/>
              <a:gd name="connsiteX0" fmla="*/ 3162779 w 5505976"/>
              <a:gd name="connsiteY0" fmla="*/ 1072541 h 5475208"/>
              <a:gd name="connsiteX1" fmla="*/ 3162779 w 5505976"/>
              <a:gd name="connsiteY1" fmla="*/ 1072541 h 5475208"/>
              <a:gd name="connsiteX2" fmla="*/ 3134557 w 5505976"/>
              <a:gd name="connsiteY2" fmla="*/ 1397097 h 5475208"/>
              <a:gd name="connsiteX3" fmla="*/ 3120446 w 5505976"/>
              <a:gd name="connsiteY3" fmla="*/ 1749874 h 5475208"/>
              <a:gd name="connsiteX4" fmla="*/ 3049890 w 5505976"/>
              <a:gd name="connsiteY4" fmla="*/ 2088541 h 5475208"/>
              <a:gd name="connsiteX5" fmla="*/ 2852334 w 5505976"/>
              <a:gd name="connsiteY5" fmla="*/ 2525985 h 5475208"/>
              <a:gd name="connsiteX6" fmla="*/ 2330223 w 5505976"/>
              <a:gd name="connsiteY6" fmla="*/ 2963430 h 5475208"/>
              <a:gd name="connsiteX7" fmla="*/ 2033890 w 5505976"/>
              <a:gd name="connsiteY7" fmla="*/ 3062208 h 5475208"/>
              <a:gd name="connsiteX8" fmla="*/ 1723446 w 5505976"/>
              <a:gd name="connsiteY8" fmla="*/ 3104541 h 5475208"/>
              <a:gd name="connsiteX9" fmla="*/ 1286001 w 5505976"/>
              <a:gd name="connsiteY9" fmla="*/ 3146874 h 5475208"/>
              <a:gd name="connsiteX10" fmla="*/ 1017890 w 5505976"/>
              <a:gd name="connsiteY10" fmla="*/ 3189208 h 5475208"/>
              <a:gd name="connsiteX11" fmla="*/ 651001 w 5505976"/>
              <a:gd name="connsiteY11" fmla="*/ 3302097 h 5475208"/>
              <a:gd name="connsiteX12" fmla="*/ 340557 w 5505976"/>
              <a:gd name="connsiteY12" fmla="*/ 3499652 h 5475208"/>
              <a:gd name="connsiteX13" fmla="*/ 171223 w 5505976"/>
              <a:gd name="connsiteY13" fmla="*/ 3711319 h 5475208"/>
              <a:gd name="connsiteX14" fmla="*/ 16001 w 5505976"/>
              <a:gd name="connsiteY14" fmla="*/ 4078208 h 5475208"/>
              <a:gd name="connsiteX15" fmla="*/ 1890 w 5505976"/>
              <a:gd name="connsiteY15" fmla="*/ 4275763 h 5475208"/>
              <a:gd name="connsiteX16" fmla="*/ 72446 w 5505976"/>
              <a:gd name="connsiteY16" fmla="*/ 4572097 h 5475208"/>
              <a:gd name="connsiteX17" fmla="*/ 241779 w 5505976"/>
              <a:gd name="connsiteY17" fmla="*/ 4755541 h 5475208"/>
              <a:gd name="connsiteX18" fmla="*/ 524001 w 5505976"/>
              <a:gd name="connsiteY18" fmla="*/ 4967208 h 5475208"/>
              <a:gd name="connsiteX19" fmla="*/ 763890 w 5505976"/>
              <a:gd name="connsiteY19" fmla="*/ 5080097 h 5475208"/>
              <a:gd name="connsiteX20" fmla="*/ 1102557 w 5505976"/>
              <a:gd name="connsiteY20" fmla="*/ 5263541 h 5475208"/>
              <a:gd name="connsiteX21" fmla="*/ 1427112 w 5505976"/>
              <a:gd name="connsiteY21" fmla="*/ 5404652 h 5475208"/>
              <a:gd name="connsiteX22" fmla="*/ 1667001 w 5505976"/>
              <a:gd name="connsiteY22" fmla="*/ 5446985 h 5475208"/>
              <a:gd name="connsiteX23" fmla="*/ 2287890 w 5505976"/>
              <a:gd name="connsiteY23" fmla="*/ 5475208 h 5475208"/>
              <a:gd name="connsiteX24" fmla="*/ 3021668 w 5505976"/>
              <a:gd name="connsiteY24" fmla="*/ 5446985 h 5475208"/>
              <a:gd name="connsiteX25" fmla="*/ 3402668 w 5505976"/>
              <a:gd name="connsiteY25" fmla="*/ 5235319 h 5475208"/>
              <a:gd name="connsiteX26" fmla="*/ 3529668 w 5505976"/>
              <a:gd name="connsiteY26" fmla="*/ 4981319 h 5475208"/>
              <a:gd name="connsiteX27" fmla="*/ 3600223 w 5505976"/>
              <a:gd name="connsiteY27" fmla="*/ 4473319 h 5475208"/>
              <a:gd name="connsiteX28" fmla="*/ 3670779 w 5505976"/>
              <a:gd name="connsiteY28" fmla="*/ 4318097 h 5475208"/>
              <a:gd name="connsiteX29" fmla="*/ 3741334 w 5505976"/>
              <a:gd name="connsiteY29" fmla="*/ 4191097 h 5475208"/>
              <a:gd name="connsiteX30" fmla="*/ 4065890 w 5505976"/>
              <a:gd name="connsiteY30" fmla="*/ 3951208 h 5475208"/>
              <a:gd name="connsiteX31" fmla="*/ 4291668 w 5505976"/>
              <a:gd name="connsiteY31" fmla="*/ 3824208 h 5475208"/>
              <a:gd name="connsiteX32" fmla="*/ 4517446 w 5505976"/>
              <a:gd name="connsiteY32" fmla="*/ 3697208 h 5475208"/>
              <a:gd name="connsiteX33" fmla="*/ 4715001 w 5505976"/>
              <a:gd name="connsiteY33" fmla="*/ 3584319 h 5475208"/>
              <a:gd name="connsiteX34" fmla="*/ 4870223 w 5505976"/>
              <a:gd name="connsiteY34" fmla="*/ 3485541 h 5475208"/>
              <a:gd name="connsiteX35" fmla="*/ 5237112 w 5505976"/>
              <a:gd name="connsiteY35" fmla="*/ 3302097 h 5475208"/>
              <a:gd name="connsiteX36" fmla="*/ 5350001 w 5505976"/>
              <a:gd name="connsiteY36" fmla="*/ 3104541 h 5475208"/>
              <a:gd name="connsiteX37" fmla="*/ 5420557 w 5505976"/>
              <a:gd name="connsiteY37" fmla="*/ 2667097 h 5475208"/>
              <a:gd name="connsiteX38" fmla="*/ 5505223 w 5505976"/>
              <a:gd name="connsiteY38" fmla="*/ 2243763 h 5475208"/>
              <a:gd name="connsiteX39" fmla="*/ 5462890 w 5505976"/>
              <a:gd name="connsiteY39" fmla="*/ 1636985 h 5475208"/>
              <a:gd name="connsiteX40" fmla="*/ 5477001 w 5505976"/>
              <a:gd name="connsiteY40" fmla="*/ 1114875 h 5475208"/>
              <a:gd name="connsiteX41" fmla="*/ 5420557 w 5505976"/>
              <a:gd name="connsiteY41" fmla="*/ 832652 h 5475208"/>
              <a:gd name="connsiteX42" fmla="*/ 5350002 w 5505976"/>
              <a:gd name="connsiteY42" fmla="*/ 493985 h 5475208"/>
              <a:gd name="connsiteX43" fmla="*/ 5208889 w 5505976"/>
              <a:gd name="connsiteY43" fmla="*/ 239986 h 5475208"/>
              <a:gd name="connsiteX44" fmla="*/ 4700889 w 5505976"/>
              <a:gd name="connsiteY44" fmla="*/ 14207 h 5475208"/>
              <a:gd name="connsiteX45" fmla="*/ 4164668 w 5505976"/>
              <a:gd name="connsiteY45" fmla="*/ 42430 h 5475208"/>
              <a:gd name="connsiteX46" fmla="*/ 3755446 w 5505976"/>
              <a:gd name="connsiteY46" fmla="*/ 197652 h 5475208"/>
              <a:gd name="connsiteX47" fmla="*/ 3473223 w 5505976"/>
              <a:gd name="connsiteY47" fmla="*/ 381097 h 5475208"/>
              <a:gd name="connsiteX48" fmla="*/ 3318001 w 5505976"/>
              <a:gd name="connsiteY48" fmla="*/ 620985 h 5475208"/>
              <a:gd name="connsiteX49" fmla="*/ 3148668 w 5505976"/>
              <a:gd name="connsiteY49" fmla="*/ 1143096 h 5475208"/>
              <a:gd name="connsiteX0" fmla="*/ 3162779 w 5505976"/>
              <a:gd name="connsiteY0" fmla="*/ 1072541 h 5475208"/>
              <a:gd name="connsiteX1" fmla="*/ 3162779 w 5505976"/>
              <a:gd name="connsiteY1" fmla="*/ 1072541 h 5475208"/>
              <a:gd name="connsiteX2" fmla="*/ 3134557 w 5505976"/>
              <a:gd name="connsiteY2" fmla="*/ 1397097 h 5475208"/>
              <a:gd name="connsiteX3" fmla="*/ 3120446 w 5505976"/>
              <a:gd name="connsiteY3" fmla="*/ 1749874 h 5475208"/>
              <a:gd name="connsiteX4" fmla="*/ 3035779 w 5505976"/>
              <a:gd name="connsiteY4" fmla="*/ 2144986 h 5475208"/>
              <a:gd name="connsiteX5" fmla="*/ 2852334 w 5505976"/>
              <a:gd name="connsiteY5" fmla="*/ 2525985 h 5475208"/>
              <a:gd name="connsiteX6" fmla="*/ 2330223 w 5505976"/>
              <a:gd name="connsiteY6" fmla="*/ 2963430 h 5475208"/>
              <a:gd name="connsiteX7" fmla="*/ 2033890 w 5505976"/>
              <a:gd name="connsiteY7" fmla="*/ 3062208 h 5475208"/>
              <a:gd name="connsiteX8" fmla="*/ 1723446 w 5505976"/>
              <a:gd name="connsiteY8" fmla="*/ 3104541 h 5475208"/>
              <a:gd name="connsiteX9" fmla="*/ 1286001 w 5505976"/>
              <a:gd name="connsiteY9" fmla="*/ 3146874 h 5475208"/>
              <a:gd name="connsiteX10" fmla="*/ 1017890 w 5505976"/>
              <a:gd name="connsiteY10" fmla="*/ 3189208 h 5475208"/>
              <a:gd name="connsiteX11" fmla="*/ 651001 w 5505976"/>
              <a:gd name="connsiteY11" fmla="*/ 3302097 h 5475208"/>
              <a:gd name="connsiteX12" fmla="*/ 340557 w 5505976"/>
              <a:gd name="connsiteY12" fmla="*/ 3499652 h 5475208"/>
              <a:gd name="connsiteX13" fmla="*/ 171223 w 5505976"/>
              <a:gd name="connsiteY13" fmla="*/ 3711319 h 5475208"/>
              <a:gd name="connsiteX14" fmla="*/ 16001 w 5505976"/>
              <a:gd name="connsiteY14" fmla="*/ 4078208 h 5475208"/>
              <a:gd name="connsiteX15" fmla="*/ 1890 w 5505976"/>
              <a:gd name="connsiteY15" fmla="*/ 4275763 h 5475208"/>
              <a:gd name="connsiteX16" fmla="*/ 72446 w 5505976"/>
              <a:gd name="connsiteY16" fmla="*/ 4572097 h 5475208"/>
              <a:gd name="connsiteX17" fmla="*/ 241779 w 5505976"/>
              <a:gd name="connsiteY17" fmla="*/ 4755541 h 5475208"/>
              <a:gd name="connsiteX18" fmla="*/ 524001 w 5505976"/>
              <a:gd name="connsiteY18" fmla="*/ 4967208 h 5475208"/>
              <a:gd name="connsiteX19" fmla="*/ 763890 w 5505976"/>
              <a:gd name="connsiteY19" fmla="*/ 5080097 h 5475208"/>
              <a:gd name="connsiteX20" fmla="*/ 1102557 w 5505976"/>
              <a:gd name="connsiteY20" fmla="*/ 5263541 h 5475208"/>
              <a:gd name="connsiteX21" fmla="*/ 1427112 w 5505976"/>
              <a:gd name="connsiteY21" fmla="*/ 5404652 h 5475208"/>
              <a:gd name="connsiteX22" fmla="*/ 1667001 w 5505976"/>
              <a:gd name="connsiteY22" fmla="*/ 5446985 h 5475208"/>
              <a:gd name="connsiteX23" fmla="*/ 2287890 w 5505976"/>
              <a:gd name="connsiteY23" fmla="*/ 5475208 h 5475208"/>
              <a:gd name="connsiteX24" fmla="*/ 3021668 w 5505976"/>
              <a:gd name="connsiteY24" fmla="*/ 5446985 h 5475208"/>
              <a:gd name="connsiteX25" fmla="*/ 3402668 w 5505976"/>
              <a:gd name="connsiteY25" fmla="*/ 5235319 h 5475208"/>
              <a:gd name="connsiteX26" fmla="*/ 3529668 w 5505976"/>
              <a:gd name="connsiteY26" fmla="*/ 4981319 h 5475208"/>
              <a:gd name="connsiteX27" fmla="*/ 3600223 w 5505976"/>
              <a:gd name="connsiteY27" fmla="*/ 4473319 h 5475208"/>
              <a:gd name="connsiteX28" fmla="*/ 3670779 w 5505976"/>
              <a:gd name="connsiteY28" fmla="*/ 4318097 h 5475208"/>
              <a:gd name="connsiteX29" fmla="*/ 3741334 w 5505976"/>
              <a:gd name="connsiteY29" fmla="*/ 4191097 h 5475208"/>
              <a:gd name="connsiteX30" fmla="*/ 4065890 w 5505976"/>
              <a:gd name="connsiteY30" fmla="*/ 3951208 h 5475208"/>
              <a:gd name="connsiteX31" fmla="*/ 4291668 w 5505976"/>
              <a:gd name="connsiteY31" fmla="*/ 3824208 h 5475208"/>
              <a:gd name="connsiteX32" fmla="*/ 4517446 w 5505976"/>
              <a:gd name="connsiteY32" fmla="*/ 3697208 h 5475208"/>
              <a:gd name="connsiteX33" fmla="*/ 4715001 w 5505976"/>
              <a:gd name="connsiteY33" fmla="*/ 3584319 h 5475208"/>
              <a:gd name="connsiteX34" fmla="*/ 4870223 w 5505976"/>
              <a:gd name="connsiteY34" fmla="*/ 3485541 h 5475208"/>
              <a:gd name="connsiteX35" fmla="*/ 5237112 w 5505976"/>
              <a:gd name="connsiteY35" fmla="*/ 3302097 h 5475208"/>
              <a:gd name="connsiteX36" fmla="*/ 5350001 w 5505976"/>
              <a:gd name="connsiteY36" fmla="*/ 3104541 h 5475208"/>
              <a:gd name="connsiteX37" fmla="*/ 5420557 w 5505976"/>
              <a:gd name="connsiteY37" fmla="*/ 2667097 h 5475208"/>
              <a:gd name="connsiteX38" fmla="*/ 5505223 w 5505976"/>
              <a:gd name="connsiteY38" fmla="*/ 2243763 h 5475208"/>
              <a:gd name="connsiteX39" fmla="*/ 5462890 w 5505976"/>
              <a:gd name="connsiteY39" fmla="*/ 1636985 h 5475208"/>
              <a:gd name="connsiteX40" fmla="*/ 5477001 w 5505976"/>
              <a:gd name="connsiteY40" fmla="*/ 1114875 h 5475208"/>
              <a:gd name="connsiteX41" fmla="*/ 5420557 w 5505976"/>
              <a:gd name="connsiteY41" fmla="*/ 832652 h 5475208"/>
              <a:gd name="connsiteX42" fmla="*/ 5350002 w 5505976"/>
              <a:gd name="connsiteY42" fmla="*/ 493985 h 5475208"/>
              <a:gd name="connsiteX43" fmla="*/ 5208889 w 5505976"/>
              <a:gd name="connsiteY43" fmla="*/ 239986 h 5475208"/>
              <a:gd name="connsiteX44" fmla="*/ 4700889 w 5505976"/>
              <a:gd name="connsiteY44" fmla="*/ 14207 h 5475208"/>
              <a:gd name="connsiteX45" fmla="*/ 4164668 w 5505976"/>
              <a:gd name="connsiteY45" fmla="*/ 42430 h 5475208"/>
              <a:gd name="connsiteX46" fmla="*/ 3755446 w 5505976"/>
              <a:gd name="connsiteY46" fmla="*/ 197652 h 5475208"/>
              <a:gd name="connsiteX47" fmla="*/ 3473223 w 5505976"/>
              <a:gd name="connsiteY47" fmla="*/ 381097 h 5475208"/>
              <a:gd name="connsiteX48" fmla="*/ 3318001 w 5505976"/>
              <a:gd name="connsiteY48" fmla="*/ 620985 h 5475208"/>
              <a:gd name="connsiteX49" fmla="*/ 3148668 w 5505976"/>
              <a:gd name="connsiteY49" fmla="*/ 1143096 h 5475208"/>
              <a:gd name="connsiteX0" fmla="*/ 3162779 w 5505976"/>
              <a:gd name="connsiteY0" fmla="*/ 1072541 h 5475208"/>
              <a:gd name="connsiteX1" fmla="*/ 3261557 w 5505976"/>
              <a:gd name="connsiteY1" fmla="*/ 903208 h 5475208"/>
              <a:gd name="connsiteX2" fmla="*/ 3134557 w 5505976"/>
              <a:gd name="connsiteY2" fmla="*/ 1397097 h 5475208"/>
              <a:gd name="connsiteX3" fmla="*/ 3120446 w 5505976"/>
              <a:gd name="connsiteY3" fmla="*/ 1749874 h 5475208"/>
              <a:gd name="connsiteX4" fmla="*/ 3035779 w 5505976"/>
              <a:gd name="connsiteY4" fmla="*/ 2144986 h 5475208"/>
              <a:gd name="connsiteX5" fmla="*/ 2852334 w 5505976"/>
              <a:gd name="connsiteY5" fmla="*/ 2525985 h 5475208"/>
              <a:gd name="connsiteX6" fmla="*/ 2330223 w 5505976"/>
              <a:gd name="connsiteY6" fmla="*/ 2963430 h 5475208"/>
              <a:gd name="connsiteX7" fmla="*/ 2033890 w 5505976"/>
              <a:gd name="connsiteY7" fmla="*/ 3062208 h 5475208"/>
              <a:gd name="connsiteX8" fmla="*/ 1723446 w 5505976"/>
              <a:gd name="connsiteY8" fmla="*/ 3104541 h 5475208"/>
              <a:gd name="connsiteX9" fmla="*/ 1286001 w 5505976"/>
              <a:gd name="connsiteY9" fmla="*/ 3146874 h 5475208"/>
              <a:gd name="connsiteX10" fmla="*/ 1017890 w 5505976"/>
              <a:gd name="connsiteY10" fmla="*/ 3189208 h 5475208"/>
              <a:gd name="connsiteX11" fmla="*/ 651001 w 5505976"/>
              <a:gd name="connsiteY11" fmla="*/ 3302097 h 5475208"/>
              <a:gd name="connsiteX12" fmla="*/ 340557 w 5505976"/>
              <a:gd name="connsiteY12" fmla="*/ 3499652 h 5475208"/>
              <a:gd name="connsiteX13" fmla="*/ 171223 w 5505976"/>
              <a:gd name="connsiteY13" fmla="*/ 3711319 h 5475208"/>
              <a:gd name="connsiteX14" fmla="*/ 16001 w 5505976"/>
              <a:gd name="connsiteY14" fmla="*/ 4078208 h 5475208"/>
              <a:gd name="connsiteX15" fmla="*/ 1890 w 5505976"/>
              <a:gd name="connsiteY15" fmla="*/ 4275763 h 5475208"/>
              <a:gd name="connsiteX16" fmla="*/ 72446 w 5505976"/>
              <a:gd name="connsiteY16" fmla="*/ 4572097 h 5475208"/>
              <a:gd name="connsiteX17" fmla="*/ 241779 w 5505976"/>
              <a:gd name="connsiteY17" fmla="*/ 4755541 h 5475208"/>
              <a:gd name="connsiteX18" fmla="*/ 524001 w 5505976"/>
              <a:gd name="connsiteY18" fmla="*/ 4967208 h 5475208"/>
              <a:gd name="connsiteX19" fmla="*/ 763890 w 5505976"/>
              <a:gd name="connsiteY19" fmla="*/ 5080097 h 5475208"/>
              <a:gd name="connsiteX20" fmla="*/ 1102557 w 5505976"/>
              <a:gd name="connsiteY20" fmla="*/ 5263541 h 5475208"/>
              <a:gd name="connsiteX21" fmla="*/ 1427112 w 5505976"/>
              <a:gd name="connsiteY21" fmla="*/ 5404652 h 5475208"/>
              <a:gd name="connsiteX22" fmla="*/ 1667001 w 5505976"/>
              <a:gd name="connsiteY22" fmla="*/ 5446985 h 5475208"/>
              <a:gd name="connsiteX23" fmla="*/ 2287890 w 5505976"/>
              <a:gd name="connsiteY23" fmla="*/ 5475208 h 5475208"/>
              <a:gd name="connsiteX24" fmla="*/ 3021668 w 5505976"/>
              <a:gd name="connsiteY24" fmla="*/ 5446985 h 5475208"/>
              <a:gd name="connsiteX25" fmla="*/ 3402668 w 5505976"/>
              <a:gd name="connsiteY25" fmla="*/ 5235319 h 5475208"/>
              <a:gd name="connsiteX26" fmla="*/ 3529668 w 5505976"/>
              <a:gd name="connsiteY26" fmla="*/ 4981319 h 5475208"/>
              <a:gd name="connsiteX27" fmla="*/ 3600223 w 5505976"/>
              <a:gd name="connsiteY27" fmla="*/ 4473319 h 5475208"/>
              <a:gd name="connsiteX28" fmla="*/ 3670779 w 5505976"/>
              <a:gd name="connsiteY28" fmla="*/ 4318097 h 5475208"/>
              <a:gd name="connsiteX29" fmla="*/ 3741334 w 5505976"/>
              <a:gd name="connsiteY29" fmla="*/ 4191097 h 5475208"/>
              <a:gd name="connsiteX30" fmla="*/ 4065890 w 5505976"/>
              <a:gd name="connsiteY30" fmla="*/ 3951208 h 5475208"/>
              <a:gd name="connsiteX31" fmla="*/ 4291668 w 5505976"/>
              <a:gd name="connsiteY31" fmla="*/ 3824208 h 5475208"/>
              <a:gd name="connsiteX32" fmla="*/ 4517446 w 5505976"/>
              <a:gd name="connsiteY32" fmla="*/ 3697208 h 5475208"/>
              <a:gd name="connsiteX33" fmla="*/ 4715001 w 5505976"/>
              <a:gd name="connsiteY33" fmla="*/ 3584319 h 5475208"/>
              <a:gd name="connsiteX34" fmla="*/ 4870223 w 5505976"/>
              <a:gd name="connsiteY34" fmla="*/ 3485541 h 5475208"/>
              <a:gd name="connsiteX35" fmla="*/ 5237112 w 5505976"/>
              <a:gd name="connsiteY35" fmla="*/ 3302097 h 5475208"/>
              <a:gd name="connsiteX36" fmla="*/ 5350001 w 5505976"/>
              <a:gd name="connsiteY36" fmla="*/ 3104541 h 5475208"/>
              <a:gd name="connsiteX37" fmla="*/ 5420557 w 5505976"/>
              <a:gd name="connsiteY37" fmla="*/ 2667097 h 5475208"/>
              <a:gd name="connsiteX38" fmla="*/ 5505223 w 5505976"/>
              <a:gd name="connsiteY38" fmla="*/ 2243763 h 5475208"/>
              <a:gd name="connsiteX39" fmla="*/ 5462890 w 5505976"/>
              <a:gd name="connsiteY39" fmla="*/ 1636985 h 5475208"/>
              <a:gd name="connsiteX40" fmla="*/ 5477001 w 5505976"/>
              <a:gd name="connsiteY40" fmla="*/ 1114875 h 5475208"/>
              <a:gd name="connsiteX41" fmla="*/ 5420557 w 5505976"/>
              <a:gd name="connsiteY41" fmla="*/ 832652 h 5475208"/>
              <a:gd name="connsiteX42" fmla="*/ 5350002 w 5505976"/>
              <a:gd name="connsiteY42" fmla="*/ 493985 h 5475208"/>
              <a:gd name="connsiteX43" fmla="*/ 5208889 w 5505976"/>
              <a:gd name="connsiteY43" fmla="*/ 239986 h 5475208"/>
              <a:gd name="connsiteX44" fmla="*/ 4700889 w 5505976"/>
              <a:gd name="connsiteY44" fmla="*/ 14207 h 5475208"/>
              <a:gd name="connsiteX45" fmla="*/ 4164668 w 5505976"/>
              <a:gd name="connsiteY45" fmla="*/ 42430 h 5475208"/>
              <a:gd name="connsiteX46" fmla="*/ 3755446 w 5505976"/>
              <a:gd name="connsiteY46" fmla="*/ 197652 h 5475208"/>
              <a:gd name="connsiteX47" fmla="*/ 3473223 w 5505976"/>
              <a:gd name="connsiteY47" fmla="*/ 381097 h 5475208"/>
              <a:gd name="connsiteX48" fmla="*/ 3318001 w 5505976"/>
              <a:gd name="connsiteY48" fmla="*/ 620985 h 5475208"/>
              <a:gd name="connsiteX49" fmla="*/ 3148668 w 5505976"/>
              <a:gd name="connsiteY49" fmla="*/ 1143096 h 5475208"/>
              <a:gd name="connsiteX0" fmla="*/ 3162779 w 5505976"/>
              <a:gd name="connsiteY0" fmla="*/ 1072541 h 5475208"/>
              <a:gd name="connsiteX1" fmla="*/ 3261557 w 5505976"/>
              <a:gd name="connsiteY1" fmla="*/ 903208 h 5475208"/>
              <a:gd name="connsiteX2" fmla="*/ 3134557 w 5505976"/>
              <a:gd name="connsiteY2" fmla="*/ 1397097 h 5475208"/>
              <a:gd name="connsiteX3" fmla="*/ 3120446 w 5505976"/>
              <a:gd name="connsiteY3" fmla="*/ 1749874 h 5475208"/>
              <a:gd name="connsiteX4" fmla="*/ 3035779 w 5505976"/>
              <a:gd name="connsiteY4" fmla="*/ 2144986 h 5475208"/>
              <a:gd name="connsiteX5" fmla="*/ 2852334 w 5505976"/>
              <a:gd name="connsiteY5" fmla="*/ 2525985 h 5475208"/>
              <a:gd name="connsiteX6" fmla="*/ 2330223 w 5505976"/>
              <a:gd name="connsiteY6" fmla="*/ 2963430 h 5475208"/>
              <a:gd name="connsiteX7" fmla="*/ 2033890 w 5505976"/>
              <a:gd name="connsiteY7" fmla="*/ 3062208 h 5475208"/>
              <a:gd name="connsiteX8" fmla="*/ 1723446 w 5505976"/>
              <a:gd name="connsiteY8" fmla="*/ 3104541 h 5475208"/>
              <a:gd name="connsiteX9" fmla="*/ 1286001 w 5505976"/>
              <a:gd name="connsiteY9" fmla="*/ 3146874 h 5475208"/>
              <a:gd name="connsiteX10" fmla="*/ 1017890 w 5505976"/>
              <a:gd name="connsiteY10" fmla="*/ 3189208 h 5475208"/>
              <a:gd name="connsiteX11" fmla="*/ 651001 w 5505976"/>
              <a:gd name="connsiteY11" fmla="*/ 3302097 h 5475208"/>
              <a:gd name="connsiteX12" fmla="*/ 340557 w 5505976"/>
              <a:gd name="connsiteY12" fmla="*/ 3499652 h 5475208"/>
              <a:gd name="connsiteX13" fmla="*/ 171223 w 5505976"/>
              <a:gd name="connsiteY13" fmla="*/ 3711319 h 5475208"/>
              <a:gd name="connsiteX14" fmla="*/ 16001 w 5505976"/>
              <a:gd name="connsiteY14" fmla="*/ 4078208 h 5475208"/>
              <a:gd name="connsiteX15" fmla="*/ 1890 w 5505976"/>
              <a:gd name="connsiteY15" fmla="*/ 4275763 h 5475208"/>
              <a:gd name="connsiteX16" fmla="*/ 72446 w 5505976"/>
              <a:gd name="connsiteY16" fmla="*/ 4572097 h 5475208"/>
              <a:gd name="connsiteX17" fmla="*/ 241779 w 5505976"/>
              <a:gd name="connsiteY17" fmla="*/ 4755541 h 5475208"/>
              <a:gd name="connsiteX18" fmla="*/ 524001 w 5505976"/>
              <a:gd name="connsiteY18" fmla="*/ 4967208 h 5475208"/>
              <a:gd name="connsiteX19" fmla="*/ 763890 w 5505976"/>
              <a:gd name="connsiteY19" fmla="*/ 5080097 h 5475208"/>
              <a:gd name="connsiteX20" fmla="*/ 1102557 w 5505976"/>
              <a:gd name="connsiteY20" fmla="*/ 5263541 h 5475208"/>
              <a:gd name="connsiteX21" fmla="*/ 1427112 w 5505976"/>
              <a:gd name="connsiteY21" fmla="*/ 5404652 h 5475208"/>
              <a:gd name="connsiteX22" fmla="*/ 1667001 w 5505976"/>
              <a:gd name="connsiteY22" fmla="*/ 5446985 h 5475208"/>
              <a:gd name="connsiteX23" fmla="*/ 2287890 w 5505976"/>
              <a:gd name="connsiteY23" fmla="*/ 5475208 h 5475208"/>
              <a:gd name="connsiteX24" fmla="*/ 3021668 w 5505976"/>
              <a:gd name="connsiteY24" fmla="*/ 5446985 h 5475208"/>
              <a:gd name="connsiteX25" fmla="*/ 3402668 w 5505976"/>
              <a:gd name="connsiteY25" fmla="*/ 5235319 h 5475208"/>
              <a:gd name="connsiteX26" fmla="*/ 3529668 w 5505976"/>
              <a:gd name="connsiteY26" fmla="*/ 4981319 h 5475208"/>
              <a:gd name="connsiteX27" fmla="*/ 3600223 w 5505976"/>
              <a:gd name="connsiteY27" fmla="*/ 4473319 h 5475208"/>
              <a:gd name="connsiteX28" fmla="*/ 3670779 w 5505976"/>
              <a:gd name="connsiteY28" fmla="*/ 4318097 h 5475208"/>
              <a:gd name="connsiteX29" fmla="*/ 3741334 w 5505976"/>
              <a:gd name="connsiteY29" fmla="*/ 4191097 h 5475208"/>
              <a:gd name="connsiteX30" fmla="*/ 4065890 w 5505976"/>
              <a:gd name="connsiteY30" fmla="*/ 3951208 h 5475208"/>
              <a:gd name="connsiteX31" fmla="*/ 4291668 w 5505976"/>
              <a:gd name="connsiteY31" fmla="*/ 3824208 h 5475208"/>
              <a:gd name="connsiteX32" fmla="*/ 4517446 w 5505976"/>
              <a:gd name="connsiteY32" fmla="*/ 3697208 h 5475208"/>
              <a:gd name="connsiteX33" fmla="*/ 4715001 w 5505976"/>
              <a:gd name="connsiteY33" fmla="*/ 3584319 h 5475208"/>
              <a:gd name="connsiteX34" fmla="*/ 4870223 w 5505976"/>
              <a:gd name="connsiteY34" fmla="*/ 3485541 h 5475208"/>
              <a:gd name="connsiteX35" fmla="*/ 5237112 w 5505976"/>
              <a:gd name="connsiteY35" fmla="*/ 3302097 h 5475208"/>
              <a:gd name="connsiteX36" fmla="*/ 5350001 w 5505976"/>
              <a:gd name="connsiteY36" fmla="*/ 3104541 h 5475208"/>
              <a:gd name="connsiteX37" fmla="*/ 5420557 w 5505976"/>
              <a:gd name="connsiteY37" fmla="*/ 2667097 h 5475208"/>
              <a:gd name="connsiteX38" fmla="*/ 5505223 w 5505976"/>
              <a:gd name="connsiteY38" fmla="*/ 2243763 h 5475208"/>
              <a:gd name="connsiteX39" fmla="*/ 5462890 w 5505976"/>
              <a:gd name="connsiteY39" fmla="*/ 1636985 h 5475208"/>
              <a:gd name="connsiteX40" fmla="*/ 5477001 w 5505976"/>
              <a:gd name="connsiteY40" fmla="*/ 1114875 h 5475208"/>
              <a:gd name="connsiteX41" fmla="*/ 5420557 w 5505976"/>
              <a:gd name="connsiteY41" fmla="*/ 832652 h 5475208"/>
              <a:gd name="connsiteX42" fmla="*/ 5350002 w 5505976"/>
              <a:gd name="connsiteY42" fmla="*/ 493985 h 5475208"/>
              <a:gd name="connsiteX43" fmla="*/ 5208889 w 5505976"/>
              <a:gd name="connsiteY43" fmla="*/ 239986 h 5475208"/>
              <a:gd name="connsiteX44" fmla="*/ 4700889 w 5505976"/>
              <a:gd name="connsiteY44" fmla="*/ 14207 h 5475208"/>
              <a:gd name="connsiteX45" fmla="*/ 4164668 w 5505976"/>
              <a:gd name="connsiteY45" fmla="*/ 42430 h 5475208"/>
              <a:gd name="connsiteX46" fmla="*/ 3755446 w 5505976"/>
              <a:gd name="connsiteY46" fmla="*/ 197652 h 5475208"/>
              <a:gd name="connsiteX47" fmla="*/ 3473223 w 5505976"/>
              <a:gd name="connsiteY47" fmla="*/ 381097 h 5475208"/>
              <a:gd name="connsiteX48" fmla="*/ 3318001 w 5505976"/>
              <a:gd name="connsiteY48" fmla="*/ 620985 h 5475208"/>
              <a:gd name="connsiteX49" fmla="*/ 3148668 w 5505976"/>
              <a:gd name="connsiteY49" fmla="*/ 1143096 h 5475208"/>
              <a:gd name="connsiteX50" fmla="*/ 3162779 w 5505976"/>
              <a:gd name="connsiteY50" fmla="*/ 1072541 h 5475208"/>
              <a:gd name="connsiteX0" fmla="*/ 3148668 w 5505976"/>
              <a:gd name="connsiteY0" fmla="*/ 1143096 h 5475208"/>
              <a:gd name="connsiteX1" fmla="*/ 3261557 w 5505976"/>
              <a:gd name="connsiteY1" fmla="*/ 903208 h 5475208"/>
              <a:gd name="connsiteX2" fmla="*/ 3134557 w 5505976"/>
              <a:gd name="connsiteY2" fmla="*/ 1397097 h 5475208"/>
              <a:gd name="connsiteX3" fmla="*/ 3120446 w 5505976"/>
              <a:gd name="connsiteY3" fmla="*/ 1749874 h 5475208"/>
              <a:gd name="connsiteX4" fmla="*/ 3035779 w 5505976"/>
              <a:gd name="connsiteY4" fmla="*/ 2144986 h 5475208"/>
              <a:gd name="connsiteX5" fmla="*/ 2852334 w 5505976"/>
              <a:gd name="connsiteY5" fmla="*/ 2525985 h 5475208"/>
              <a:gd name="connsiteX6" fmla="*/ 2330223 w 5505976"/>
              <a:gd name="connsiteY6" fmla="*/ 2963430 h 5475208"/>
              <a:gd name="connsiteX7" fmla="*/ 2033890 w 5505976"/>
              <a:gd name="connsiteY7" fmla="*/ 3062208 h 5475208"/>
              <a:gd name="connsiteX8" fmla="*/ 1723446 w 5505976"/>
              <a:gd name="connsiteY8" fmla="*/ 3104541 h 5475208"/>
              <a:gd name="connsiteX9" fmla="*/ 1286001 w 5505976"/>
              <a:gd name="connsiteY9" fmla="*/ 3146874 h 5475208"/>
              <a:gd name="connsiteX10" fmla="*/ 1017890 w 5505976"/>
              <a:gd name="connsiteY10" fmla="*/ 3189208 h 5475208"/>
              <a:gd name="connsiteX11" fmla="*/ 651001 w 5505976"/>
              <a:gd name="connsiteY11" fmla="*/ 3302097 h 5475208"/>
              <a:gd name="connsiteX12" fmla="*/ 340557 w 5505976"/>
              <a:gd name="connsiteY12" fmla="*/ 3499652 h 5475208"/>
              <a:gd name="connsiteX13" fmla="*/ 171223 w 5505976"/>
              <a:gd name="connsiteY13" fmla="*/ 3711319 h 5475208"/>
              <a:gd name="connsiteX14" fmla="*/ 16001 w 5505976"/>
              <a:gd name="connsiteY14" fmla="*/ 4078208 h 5475208"/>
              <a:gd name="connsiteX15" fmla="*/ 1890 w 5505976"/>
              <a:gd name="connsiteY15" fmla="*/ 4275763 h 5475208"/>
              <a:gd name="connsiteX16" fmla="*/ 72446 w 5505976"/>
              <a:gd name="connsiteY16" fmla="*/ 4572097 h 5475208"/>
              <a:gd name="connsiteX17" fmla="*/ 241779 w 5505976"/>
              <a:gd name="connsiteY17" fmla="*/ 4755541 h 5475208"/>
              <a:gd name="connsiteX18" fmla="*/ 524001 w 5505976"/>
              <a:gd name="connsiteY18" fmla="*/ 4967208 h 5475208"/>
              <a:gd name="connsiteX19" fmla="*/ 763890 w 5505976"/>
              <a:gd name="connsiteY19" fmla="*/ 5080097 h 5475208"/>
              <a:gd name="connsiteX20" fmla="*/ 1102557 w 5505976"/>
              <a:gd name="connsiteY20" fmla="*/ 5263541 h 5475208"/>
              <a:gd name="connsiteX21" fmla="*/ 1427112 w 5505976"/>
              <a:gd name="connsiteY21" fmla="*/ 5404652 h 5475208"/>
              <a:gd name="connsiteX22" fmla="*/ 1667001 w 5505976"/>
              <a:gd name="connsiteY22" fmla="*/ 5446985 h 5475208"/>
              <a:gd name="connsiteX23" fmla="*/ 2287890 w 5505976"/>
              <a:gd name="connsiteY23" fmla="*/ 5475208 h 5475208"/>
              <a:gd name="connsiteX24" fmla="*/ 3021668 w 5505976"/>
              <a:gd name="connsiteY24" fmla="*/ 5446985 h 5475208"/>
              <a:gd name="connsiteX25" fmla="*/ 3402668 w 5505976"/>
              <a:gd name="connsiteY25" fmla="*/ 5235319 h 5475208"/>
              <a:gd name="connsiteX26" fmla="*/ 3529668 w 5505976"/>
              <a:gd name="connsiteY26" fmla="*/ 4981319 h 5475208"/>
              <a:gd name="connsiteX27" fmla="*/ 3600223 w 5505976"/>
              <a:gd name="connsiteY27" fmla="*/ 4473319 h 5475208"/>
              <a:gd name="connsiteX28" fmla="*/ 3670779 w 5505976"/>
              <a:gd name="connsiteY28" fmla="*/ 4318097 h 5475208"/>
              <a:gd name="connsiteX29" fmla="*/ 3741334 w 5505976"/>
              <a:gd name="connsiteY29" fmla="*/ 4191097 h 5475208"/>
              <a:gd name="connsiteX30" fmla="*/ 4065890 w 5505976"/>
              <a:gd name="connsiteY30" fmla="*/ 3951208 h 5475208"/>
              <a:gd name="connsiteX31" fmla="*/ 4291668 w 5505976"/>
              <a:gd name="connsiteY31" fmla="*/ 3824208 h 5475208"/>
              <a:gd name="connsiteX32" fmla="*/ 4517446 w 5505976"/>
              <a:gd name="connsiteY32" fmla="*/ 3697208 h 5475208"/>
              <a:gd name="connsiteX33" fmla="*/ 4715001 w 5505976"/>
              <a:gd name="connsiteY33" fmla="*/ 3584319 h 5475208"/>
              <a:gd name="connsiteX34" fmla="*/ 4870223 w 5505976"/>
              <a:gd name="connsiteY34" fmla="*/ 3485541 h 5475208"/>
              <a:gd name="connsiteX35" fmla="*/ 5237112 w 5505976"/>
              <a:gd name="connsiteY35" fmla="*/ 3302097 h 5475208"/>
              <a:gd name="connsiteX36" fmla="*/ 5350001 w 5505976"/>
              <a:gd name="connsiteY36" fmla="*/ 3104541 h 5475208"/>
              <a:gd name="connsiteX37" fmla="*/ 5420557 w 5505976"/>
              <a:gd name="connsiteY37" fmla="*/ 2667097 h 5475208"/>
              <a:gd name="connsiteX38" fmla="*/ 5505223 w 5505976"/>
              <a:gd name="connsiteY38" fmla="*/ 2243763 h 5475208"/>
              <a:gd name="connsiteX39" fmla="*/ 5462890 w 5505976"/>
              <a:gd name="connsiteY39" fmla="*/ 1636985 h 5475208"/>
              <a:gd name="connsiteX40" fmla="*/ 5477001 w 5505976"/>
              <a:gd name="connsiteY40" fmla="*/ 1114875 h 5475208"/>
              <a:gd name="connsiteX41" fmla="*/ 5420557 w 5505976"/>
              <a:gd name="connsiteY41" fmla="*/ 832652 h 5475208"/>
              <a:gd name="connsiteX42" fmla="*/ 5350002 w 5505976"/>
              <a:gd name="connsiteY42" fmla="*/ 493985 h 5475208"/>
              <a:gd name="connsiteX43" fmla="*/ 5208889 w 5505976"/>
              <a:gd name="connsiteY43" fmla="*/ 239986 h 5475208"/>
              <a:gd name="connsiteX44" fmla="*/ 4700889 w 5505976"/>
              <a:gd name="connsiteY44" fmla="*/ 14207 h 5475208"/>
              <a:gd name="connsiteX45" fmla="*/ 4164668 w 5505976"/>
              <a:gd name="connsiteY45" fmla="*/ 42430 h 5475208"/>
              <a:gd name="connsiteX46" fmla="*/ 3755446 w 5505976"/>
              <a:gd name="connsiteY46" fmla="*/ 197652 h 5475208"/>
              <a:gd name="connsiteX47" fmla="*/ 3473223 w 5505976"/>
              <a:gd name="connsiteY47" fmla="*/ 381097 h 5475208"/>
              <a:gd name="connsiteX48" fmla="*/ 3318001 w 5505976"/>
              <a:gd name="connsiteY48" fmla="*/ 620985 h 5475208"/>
              <a:gd name="connsiteX49" fmla="*/ 3148668 w 5505976"/>
              <a:gd name="connsiteY49" fmla="*/ 1143096 h 5475208"/>
              <a:gd name="connsiteX0" fmla="*/ 3318001 w 5505976"/>
              <a:gd name="connsiteY0" fmla="*/ 620985 h 5475208"/>
              <a:gd name="connsiteX1" fmla="*/ 3261557 w 5505976"/>
              <a:gd name="connsiteY1" fmla="*/ 903208 h 5475208"/>
              <a:gd name="connsiteX2" fmla="*/ 3134557 w 5505976"/>
              <a:gd name="connsiteY2" fmla="*/ 1397097 h 5475208"/>
              <a:gd name="connsiteX3" fmla="*/ 3120446 w 5505976"/>
              <a:gd name="connsiteY3" fmla="*/ 1749874 h 5475208"/>
              <a:gd name="connsiteX4" fmla="*/ 3035779 w 5505976"/>
              <a:gd name="connsiteY4" fmla="*/ 2144986 h 5475208"/>
              <a:gd name="connsiteX5" fmla="*/ 2852334 w 5505976"/>
              <a:gd name="connsiteY5" fmla="*/ 2525985 h 5475208"/>
              <a:gd name="connsiteX6" fmla="*/ 2330223 w 5505976"/>
              <a:gd name="connsiteY6" fmla="*/ 2963430 h 5475208"/>
              <a:gd name="connsiteX7" fmla="*/ 2033890 w 5505976"/>
              <a:gd name="connsiteY7" fmla="*/ 3062208 h 5475208"/>
              <a:gd name="connsiteX8" fmla="*/ 1723446 w 5505976"/>
              <a:gd name="connsiteY8" fmla="*/ 3104541 h 5475208"/>
              <a:gd name="connsiteX9" fmla="*/ 1286001 w 5505976"/>
              <a:gd name="connsiteY9" fmla="*/ 3146874 h 5475208"/>
              <a:gd name="connsiteX10" fmla="*/ 1017890 w 5505976"/>
              <a:gd name="connsiteY10" fmla="*/ 3189208 h 5475208"/>
              <a:gd name="connsiteX11" fmla="*/ 651001 w 5505976"/>
              <a:gd name="connsiteY11" fmla="*/ 3302097 h 5475208"/>
              <a:gd name="connsiteX12" fmla="*/ 340557 w 5505976"/>
              <a:gd name="connsiteY12" fmla="*/ 3499652 h 5475208"/>
              <a:gd name="connsiteX13" fmla="*/ 171223 w 5505976"/>
              <a:gd name="connsiteY13" fmla="*/ 3711319 h 5475208"/>
              <a:gd name="connsiteX14" fmla="*/ 16001 w 5505976"/>
              <a:gd name="connsiteY14" fmla="*/ 4078208 h 5475208"/>
              <a:gd name="connsiteX15" fmla="*/ 1890 w 5505976"/>
              <a:gd name="connsiteY15" fmla="*/ 4275763 h 5475208"/>
              <a:gd name="connsiteX16" fmla="*/ 72446 w 5505976"/>
              <a:gd name="connsiteY16" fmla="*/ 4572097 h 5475208"/>
              <a:gd name="connsiteX17" fmla="*/ 241779 w 5505976"/>
              <a:gd name="connsiteY17" fmla="*/ 4755541 h 5475208"/>
              <a:gd name="connsiteX18" fmla="*/ 524001 w 5505976"/>
              <a:gd name="connsiteY18" fmla="*/ 4967208 h 5475208"/>
              <a:gd name="connsiteX19" fmla="*/ 763890 w 5505976"/>
              <a:gd name="connsiteY19" fmla="*/ 5080097 h 5475208"/>
              <a:gd name="connsiteX20" fmla="*/ 1102557 w 5505976"/>
              <a:gd name="connsiteY20" fmla="*/ 5263541 h 5475208"/>
              <a:gd name="connsiteX21" fmla="*/ 1427112 w 5505976"/>
              <a:gd name="connsiteY21" fmla="*/ 5404652 h 5475208"/>
              <a:gd name="connsiteX22" fmla="*/ 1667001 w 5505976"/>
              <a:gd name="connsiteY22" fmla="*/ 5446985 h 5475208"/>
              <a:gd name="connsiteX23" fmla="*/ 2287890 w 5505976"/>
              <a:gd name="connsiteY23" fmla="*/ 5475208 h 5475208"/>
              <a:gd name="connsiteX24" fmla="*/ 3021668 w 5505976"/>
              <a:gd name="connsiteY24" fmla="*/ 5446985 h 5475208"/>
              <a:gd name="connsiteX25" fmla="*/ 3402668 w 5505976"/>
              <a:gd name="connsiteY25" fmla="*/ 5235319 h 5475208"/>
              <a:gd name="connsiteX26" fmla="*/ 3529668 w 5505976"/>
              <a:gd name="connsiteY26" fmla="*/ 4981319 h 5475208"/>
              <a:gd name="connsiteX27" fmla="*/ 3600223 w 5505976"/>
              <a:gd name="connsiteY27" fmla="*/ 4473319 h 5475208"/>
              <a:gd name="connsiteX28" fmla="*/ 3670779 w 5505976"/>
              <a:gd name="connsiteY28" fmla="*/ 4318097 h 5475208"/>
              <a:gd name="connsiteX29" fmla="*/ 3741334 w 5505976"/>
              <a:gd name="connsiteY29" fmla="*/ 4191097 h 5475208"/>
              <a:gd name="connsiteX30" fmla="*/ 4065890 w 5505976"/>
              <a:gd name="connsiteY30" fmla="*/ 3951208 h 5475208"/>
              <a:gd name="connsiteX31" fmla="*/ 4291668 w 5505976"/>
              <a:gd name="connsiteY31" fmla="*/ 3824208 h 5475208"/>
              <a:gd name="connsiteX32" fmla="*/ 4517446 w 5505976"/>
              <a:gd name="connsiteY32" fmla="*/ 3697208 h 5475208"/>
              <a:gd name="connsiteX33" fmla="*/ 4715001 w 5505976"/>
              <a:gd name="connsiteY33" fmla="*/ 3584319 h 5475208"/>
              <a:gd name="connsiteX34" fmla="*/ 4870223 w 5505976"/>
              <a:gd name="connsiteY34" fmla="*/ 3485541 h 5475208"/>
              <a:gd name="connsiteX35" fmla="*/ 5237112 w 5505976"/>
              <a:gd name="connsiteY35" fmla="*/ 3302097 h 5475208"/>
              <a:gd name="connsiteX36" fmla="*/ 5350001 w 5505976"/>
              <a:gd name="connsiteY36" fmla="*/ 3104541 h 5475208"/>
              <a:gd name="connsiteX37" fmla="*/ 5420557 w 5505976"/>
              <a:gd name="connsiteY37" fmla="*/ 2667097 h 5475208"/>
              <a:gd name="connsiteX38" fmla="*/ 5505223 w 5505976"/>
              <a:gd name="connsiteY38" fmla="*/ 2243763 h 5475208"/>
              <a:gd name="connsiteX39" fmla="*/ 5462890 w 5505976"/>
              <a:gd name="connsiteY39" fmla="*/ 1636985 h 5475208"/>
              <a:gd name="connsiteX40" fmla="*/ 5477001 w 5505976"/>
              <a:gd name="connsiteY40" fmla="*/ 1114875 h 5475208"/>
              <a:gd name="connsiteX41" fmla="*/ 5420557 w 5505976"/>
              <a:gd name="connsiteY41" fmla="*/ 832652 h 5475208"/>
              <a:gd name="connsiteX42" fmla="*/ 5350002 w 5505976"/>
              <a:gd name="connsiteY42" fmla="*/ 493985 h 5475208"/>
              <a:gd name="connsiteX43" fmla="*/ 5208889 w 5505976"/>
              <a:gd name="connsiteY43" fmla="*/ 239986 h 5475208"/>
              <a:gd name="connsiteX44" fmla="*/ 4700889 w 5505976"/>
              <a:gd name="connsiteY44" fmla="*/ 14207 h 5475208"/>
              <a:gd name="connsiteX45" fmla="*/ 4164668 w 5505976"/>
              <a:gd name="connsiteY45" fmla="*/ 42430 h 5475208"/>
              <a:gd name="connsiteX46" fmla="*/ 3755446 w 5505976"/>
              <a:gd name="connsiteY46" fmla="*/ 197652 h 5475208"/>
              <a:gd name="connsiteX47" fmla="*/ 3473223 w 5505976"/>
              <a:gd name="connsiteY47" fmla="*/ 381097 h 5475208"/>
              <a:gd name="connsiteX48" fmla="*/ 3318001 w 5505976"/>
              <a:gd name="connsiteY48" fmla="*/ 620985 h 5475208"/>
              <a:gd name="connsiteX0" fmla="*/ 3318001 w 5505976"/>
              <a:gd name="connsiteY0" fmla="*/ 620985 h 5475208"/>
              <a:gd name="connsiteX1" fmla="*/ 3134557 w 5505976"/>
              <a:gd name="connsiteY1" fmla="*/ 1397097 h 5475208"/>
              <a:gd name="connsiteX2" fmla="*/ 3120446 w 5505976"/>
              <a:gd name="connsiteY2" fmla="*/ 1749874 h 5475208"/>
              <a:gd name="connsiteX3" fmla="*/ 3035779 w 5505976"/>
              <a:gd name="connsiteY3" fmla="*/ 2144986 h 5475208"/>
              <a:gd name="connsiteX4" fmla="*/ 2852334 w 5505976"/>
              <a:gd name="connsiteY4" fmla="*/ 2525985 h 5475208"/>
              <a:gd name="connsiteX5" fmla="*/ 2330223 w 5505976"/>
              <a:gd name="connsiteY5" fmla="*/ 2963430 h 5475208"/>
              <a:gd name="connsiteX6" fmla="*/ 2033890 w 5505976"/>
              <a:gd name="connsiteY6" fmla="*/ 3062208 h 5475208"/>
              <a:gd name="connsiteX7" fmla="*/ 1723446 w 5505976"/>
              <a:gd name="connsiteY7" fmla="*/ 3104541 h 5475208"/>
              <a:gd name="connsiteX8" fmla="*/ 1286001 w 5505976"/>
              <a:gd name="connsiteY8" fmla="*/ 3146874 h 5475208"/>
              <a:gd name="connsiteX9" fmla="*/ 1017890 w 5505976"/>
              <a:gd name="connsiteY9" fmla="*/ 3189208 h 5475208"/>
              <a:gd name="connsiteX10" fmla="*/ 651001 w 5505976"/>
              <a:gd name="connsiteY10" fmla="*/ 3302097 h 5475208"/>
              <a:gd name="connsiteX11" fmla="*/ 340557 w 5505976"/>
              <a:gd name="connsiteY11" fmla="*/ 3499652 h 5475208"/>
              <a:gd name="connsiteX12" fmla="*/ 171223 w 5505976"/>
              <a:gd name="connsiteY12" fmla="*/ 3711319 h 5475208"/>
              <a:gd name="connsiteX13" fmla="*/ 16001 w 5505976"/>
              <a:gd name="connsiteY13" fmla="*/ 4078208 h 5475208"/>
              <a:gd name="connsiteX14" fmla="*/ 1890 w 5505976"/>
              <a:gd name="connsiteY14" fmla="*/ 4275763 h 5475208"/>
              <a:gd name="connsiteX15" fmla="*/ 72446 w 5505976"/>
              <a:gd name="connsiteY15" fmla="*/ 4572097 h 5475208"/>
              <a:gd name="connsiteX16" fmla="*/ 241779 w 5505976"/>
              <a:gd name="connsiteY16" fmla="*/ 4755541 h 5475208"/>
              <a:gd name="connsiteX17" fmla="*/ 524001 w 5505976"/>
              <a:gd name="connsiteY17" fmla="*/ 4967208 h 5475208"/>
              <a:gd name="connsiteX18" fmla="*/ 763890 w 5505976"/>
              <a:gd name="connsiteY18" fmla="*/ 5080097 h 5475208"/>
              <a:gd name="connsiteX19" fmla="*/ 1102557 w 5505976"/>
              <a:gd name="connsiteY19" fmla="*/ 5263541 h 5475208"/>
              <a:gd name="connsiteX20" fmla="*/ 1427112 w 5505976"/>
              <a:gd name="connsiteY20" fmla="*/ 5404652 h 5475208"/>
              <a:gd name="connsiteX21" fmla="*/ 1667001 w 5505976"/>
              <a:gd name="connsiteY21" fmla="*/ 5446985 h 5475208"/>
              <a:gd name="connsiteX22" fmla="*/ 2287890 w 5505976"/>
              <a:gd name="connsiteY22" fmla="*/ 5475208 h 5475208"/>
              <a:gd name="connsiteX23" fmla="*/ 3021668 w 5505976"/>
              <a:gd name="connsiteY23" fmla="*/ 5446985 h 5475208"/>
              <a:gd name="connsiteX24" fmla="*/ 3402668 w 5505976"/>
              <a:gd name="connsiteY24" fmla="*/ 5235319 h 5475208"/>
              <a:gd name="connsiteX25" fmla="*/ 3529668 w 5505976"/>
              <a:gd name="connsiteY25" fmla="*/ 4981319 h 5475208"/>
              <a:gd name="connsiteX26" fmla="*/ 3600223 w 5505976"/>
              <a:gd name="connsiteY26" fmla="*/ 4473319 h 5475208"/>
              <a:gd name="connsiteX27" fmla="*/ 3670779 w 5505976"/>
              <a:gd name="connsiteY27" fmla="*/ 4318097 h 5475208"/>
              <a:gd name="connsiteX28" fmla="*/ 3741334 w 5505976"/>
              <a:gd name="connsiteY28" fmla="*/ 4191097 h 5475208"/>
              <a:gd name="connsiteX29" fmla="*/ 4065890 w 5505976"/>
              <a:gd name="connsiteY29" fmla="*/ 3951208 h 5475208"/>
              <a:gd name="connsiteX30" fmla="*/ 4291668 w 5505976"/>
              <a:gd name="connsiteY30" fmla="*/ 3824208 h 5475208"/>
              <a:gd name="connsiteX31" fmla="*/ 4517446 w 5505976"/>
              <a:gd name="connsiteY31" fmla="*/ 3697208 h 5475208"/>
              <a:gd name="connsiteX32" fmla="*/ 4715001 w 5505976"/>
              <a:gd name="connsiteY32" fmla="*/ 3584319 h 5475208"/>
              <a:gd name="connsiteX33" fmla="*/ 4870223 w 5505976"/>
              <a:gd name="connsiteY33" fmla="*/ 3485541 h 5475208"/>
              <a:gd name="connsiteX34" fmla="*/ 5237112 w 5505976"/>
              <a:gd name="connsiteY34" fmla="*/ 3302097 h 5475208"/>
              <a:gd name="connsiteX35" fmla="*/ 5350001 w 5505976"/>
              <a:gd name="connsiteY35" fmla="*/ 3104541 h 5475208"/>
              <a:gd name="connsiteX36" fmla="*/ 5420557 w 5505976"/>
              <a:gd name="connsiteY36" fmla="*/ 2667097 h 5475208"/>
              <a:gd name="connsiteX37" fmla="*/ 5505223 w 5505976"/>
              <a:gd name="connsiteY37" fmla="*/ 2243763 h 5475208"/>
              <a:gd name="connsiteX38" fmla="*/ 5462890 w 5505976"/>
              <a:gd name="connsiteY38" fmla="*/ 1636985 h 5475208"/>
              <a:gd name="connsiteX39" fmla="*/ 5477001 w 5505976"/>
              <a:gd name="connsiteY39" fmla="*/ 1114875 h 5475208"/>
              <a:gd name="connsiteX40" fmla="*/ 5420557 w 5505976"/>
              <a:gd name="connsiteY40" fmla="*/ 832652 h 5475208"/>
              <a:gd name="connsiteX41" fmla="*/ 5350002 w 5505976"/>
              <a:gd name="connsiteY41" fmla="*/ 493985 h 5475208"/>
              <a:gd name="connsiteX42" fmla="*/ 5208889 w 5505976"/>
              <a:gd name="connsiteY42" fmla="*/ 239986 h 5475208"/>
              <a:gd name="connsiteX43" fmla="*/ 4700889 w 5505976"/>
              <a:gd name="connsiteY43" fmla="*/ 14207 h 5475208"/>
              <a:gd name="connsiteX44" fmla="*/ 4164668 w 5505976"/>
              <a:gd name="connsiteY44" fmla="*/ 42430 h 5475208"/>
              <a:gd name="connsiteX45" fmla="*/ 3755446 w 5505976"/>
              <a:gd name="connsiteY45" fmla="*/ 197652 h 5475208"/>
              <a:gd name="connsiteX46" fmla="*/ 3473223 w 5505976"/>
              <a:gd name="connsiteY46" fmla="*/ 381097 h 5475208"/>
              <a:gd name="connsiteX47" fmla="*/ 3318001 w 5505976"/>
              <a:gd name="connsiteY47" fmla="*/ 620985 h 5475208"/>
              <a:gd name="connsiteX0" fmla="*/ 3318001 w 5505976"/>
              <a:gd name="connsiteY0" fmla="*/ 620985 h 5475208"/>
              <a:gd name="connsiteX1" fmla="*/ 3148668 w 5505976"/>
              <a:gd name="connsiteY1" fmla="*/ 1086653 h 5475208"/>
              <a:gd name="connsiteX2" fmla="*/ 3120446 w 5505976"/>
              <a:gd name="connsiteY2" fmla="*/ 1749874 h 5475208"/>
              <a:gd name="connsiteX3" fmla="*/ 3035779 w 5505976"/>
              <a:gd name="connsiteY3" fmla="*/ 2144986 h 5475208"/>
              <a:gd name="connsiteX4" fmla="*/ 2852334 w 5505976"/>
              <a:gd name="connsiteY4" fmla="*/ 2525985 h 5475208"/>
              <a:gd name="connsiteX5" fmla="*/ 2330223 w 5505976"/>
              <a:gd name="connsiteY5" fmla="*/ 2963430 h 5475208"/>
              <a:gd name="connsiteX6" fmla="*/ 2033890 w 5505976"/>
              <a:gd name="connsiteY6" fmla="*/ 3062208 h 5475208"/>
              <a:gd name="connsiteX7" fmla="*/ 1723446 w 5505976"/>
              <a:gd name="connsiteY7" fmla="*/ 3104541 h 5475208"/>
              <a:gd name="connsiteX8" fmla="*/ 1286001 w 5505976"/>
              <a:gd name="connsiteY8" fmla="*/ 3146874 h 5475208"/>
              <a:gd name="connsiteX9" fmla="*/ 1017890 w 5505976"/>
              <a:gd name="connsiteY9" fmla="*/ 3189208 h 5475208"/>
              <a:gd name="connsiteX10" fmla="*/ 651001 w 5505976"/>
              <a:gd name="connsiteY10" fmla="*/ 3302097 h 5475208"/>
              <a:gd name="connsiteX11" fmla="*/ 340557 w 5505976"/>
              <a:gd name="connsiteY11" fmla="*/ 3499652 h 5475208"/>
              <a:gd name="connsiteX12" fmla="*/ 171223 w 5505976"/>
              <a:gd name="connsiteY12" fmla="*/ 3711319 h 5475208"/>
              <a:gd name="connsiteX13" fmla="*/ 16001 w 5505976"/>
              <a:gd name="connsiteY13" fmla="*/ 4078208 h 5475208"/>
              <a:gd name="connsiteX14" fmla="*/ 1890 w 5505976"/>
              <a:gd name="connsiteY14" fmla="*/ 4275763 h 5475208"/>
              <a:gd name="connsiteX15" fmla="*/ 72446 w 5505976"/>
              <a:gd name="connsiteY15" fmla="*/ 4572097 h 5475208"/>
              <a:gd name="connsiteX16" fmla="*/ 241779 w 5505976"/>
              <a:gd name="connsiteY16" fmla="*/ 4755541 h 5475208"/>
              <a:gd name="connsiteX17" fmla="*/ 524001 w 5505976"/>
              <a:gd name="connsiteY17" fmla="*/ 4967208 h 5475208"/>
              <a:gd name="connsiteX18" fmla="*/ 763890 w 5505976"/>
              <a:gd name="connsiteY18" fmla="*/ 5080097 h 5475208"/>
              <a:gd name="connsiteX19" fmla="*/ 1102557 w 5505976"/>
              <a:gd name="connsiteY19" fmla="*/ 5263541 h 5475208"/>
              <a:gd name="connsiteX20" fmla="*/ 1427112 w 5505976"/>
              <a:gd name="connsiteY20" fmla="*/ 5404652 h 5475208"/>
              <a:gd name="connsiteX21" fmla="*/ 1667001 w 5505976"/>
              <a:gd name="connsiteY21" fmla="*/ 5446985 h 5475208"/>
              <a:gd name="connsiteX22" fmla="*/ 2287890 w 5505976"/>
              <a:gd name="connsiteY22" fmla="*/ 5475208 h 5475208"/>
              <a:gd name="connsiteX23" fmla="*/ 3021668 w 5505976"/>
              <a:gd name="connsiteY23" fmla="*/ 5446985 h 5475208"/>
              <a:gd name="connsiteX24" fmla="*/ 3402668 w 5505976"/>
              <a:gd name="connsiteY24" fmla="*/ 5235319 h 5475208"/>
              <a:gd name="connsiteX25" fmla="*/ 3529668 w 5505976"/>
              <a:gd name="connsiteY25" fmla="*/ 4981319 h 5475208"/>
              <a:gd name="connsiteX26" fmla="*/ 3600223 w 5505976"/>
              <a:gd name="connsiteY26" fmla="*/ 4473319 h 5475208"/>
              <a:gd name="connsiteX27" fmla="*/ 3670779 w 5505976"/>
              <a:gd name="connsiteY27" fmla="*/ 4318097 h 5475208"/>
              <a:gd name="connsiteX28" fmla="*/ 3741334 w 5505976"/>
              <a:gd name="connsiteY28" fmla="*/ 4191097 h 5475208"/>
              <a:gd name="connsiteX29" fmla="*/ 4065890 w 5505976"/>
              <a:gd name="connsiteY29" fmla="*/ 3951208 h 5475208"/>
              <a:gd name="connsiteX30" fmla="*/ 4291668 w 5505976"/>
              <a:gd name="connsiteY30" fmla="*/ 3824208 h 5475208"/>
              <a:gd name="connsiteX31" fmla="*/ 4517446 w 5505976"/>
              <a:gd name="connsiteY31" fmla="*/ 3697208 h 5475208"/>
              <a:gd name="connsiteX32" fmla="*/ 4715001 w 5505976"/>
              <a:gd name="connsiteY32" fmla="*/ 3584319 h 5475208"/>
              <a:gd name="connsiteX33" fmla="*/ 4870223 w 5505976"/>
              <a:gd name="connsiteY33" fmla="*/ 3485541 h 5475208"/>
              <a:gd name="connsiteX34" fmla="*/ 5237112 w 5505976"/>
              <a:gd name="connsiteY34" fmla="*/ 3302097 h 5475208"/>
              <a:gd name="connsiteX35" fmla="*/ 5350001 w 5505976"/>
              <a:gd name="connsiteY35" fmla="*/ 3104541 h 5475208"/>
              <a:gd name="connsiteX36" fmla="*/ 5420557 w 5505976"/>
              <a:gd name="connsiteY36" fmla="*/ 2667097 h 5475208"/>
              <a:gd name="connsiteX37" fmla="*/ 5505223 w 5505976"/>
              <a:gd name="connsiteY37" fmla="*/ 2243763 h 5475208"/>
              <a:gd name="connsiteX38" fmla="*/ 5462890 w 5505976"/>
              <a:gd name="connsiteY38" fmla="*/ 1636985 h 5475208"/>
              <a:gd name="connsiteX39" fmla="*/ 5477001 w 5505976"/>
              <a:gd name="connsiteY39" fmla="*/ 1114875 h 5475208"/>
              <a:gd name="connsiteX40" fmla="*/ 5420557 w 5505976"/>
              <a:gd name="connsiteY40" fmla="*/ 832652 h 5475208"/>
              <a:gd name="connsiteX41" fmla="*/ 5350002 w 5505976"/>
              <a:gd name="connsiteY41" fmla="*/ 493985 h 5475208"/>
              <a:gd name="connsiteX42" fmla="*/ 5208889 w 5505976"/>
              <a:gd name="connsiteY42" fmla="*/ 239986 h 5475208"/>
              <a:gd name="connsiteX43" fmla="*/ 4700889 w 5505976"/>
              <a:gd name="connsiteY43" fmla="*/ 14207 h 5475208"/>
              <a:gd name="connsiteX44" fmla="*/ 4164668 w 5505976"/>
              <a:gd name="connsiteY44" fmla="*/ 42430 h 5475208"/>
              <a:gd name="connsiteX45" fmla="*/ 3755446 w 5505976"/>
              <a:gd name="connsiteY45" fmla="*/ 197652 h 5475208"/>
              <a:gd name="connsiteX46" fmla="*/ 3473223 w 5505976"/>
              <a:gd name="connsiteY46" fmla="*/ 381097 h 5475208"/>
              <a:gd name="connsiteX47" fmla="*/ 3318001 w 5505976"/>
              <a:gd name="connsiteY47" fmla="*/ 620985 h 5475208"/>
              <a:gd name="connsiteX0" fmla="*/ 3318001 w 5505976"/>
              <a:gd name="connsiteY0" fmla="*/ 620985 h 5475208"/>
              <a:gd name="connsiteX1" fmla="*/ 3148668 w 5505976"/>
              <a:gd name="connsiteY1" fmla="*/ 1086653 h 5475208"/>
              <a:gd name="connsiteX2" fmla="*/ 3120446 w 5505976"/>
              <a:gd name="connsiteY2" fmla="*/ 1749874 h 5475208"/>
              <a:gd name="connsiteX3" fmla="*/ 3035779 w 5505976"/>
              <a:gd name="connsiteY3" fmla="*/ 2144986 h 5475208"/>
              <a:gd name="connsiteX4" fmla="*/ 2852334 w 5505976"/>
              <a:gd name="connsiteY4" fmla="*/ 2525985 h 5475208"/>
              <a:gd name="connsiteX5" fmla="*/ 2330223 w 5505976"/>
              <a:gd name="connsiteY5" fmla="*/ 2963430 h 5475208"/>
              <a:gd name="connsiteX6" fmla="*/ 2033890 w 5505976"/>
              <a:gd name="connsiteY6" fmla="*/ 3062208 h 5475208"/>
              <a:gd name="connsiteX7" fmla="*/ 1723446 w 5505976"/>
              <a:gd name="connsiteY7" fmla="*/ 3104541 h 5475208"/>
              <a:gd name="connsiteX8" fmla="*/ 1286001 w 5505976"/>
              <a:gd name="connsiteY8" fmla="*/ 3146874 h 5475208"/>
              <a:gd name="connsiteX9" fmla="*/ 1017890 w 5505976"/>
              <a:gd name="connsiteY9" fmla="*/ 3189208 h 5475208"/>
              <a:gd name="connsiteX10" fmla="*/ 651001 w 5505976"/>
              <a:gd name="connsiteY10" fmla="*/ 3302097 h 5475208"/>
              <a:gd name="connsiteX11" fmla="*/ 340557 w 5505976"/>
              <a:gd name="connsiteY11" fmla="*/ 3499652 h 5475208"/>
              <a:gd name="connsiteX12" fmla="*/ 171223 w 5505976"/>
              <a:gd name="connsiteY12" fmla="*/ 3711319 h 5475208"/>
              <a:gd name="connsiteX13" fmla="*/ 16001 w 5505976"/>
              <a:gd name="connsiteY13" fmla="*/ 4078208 h 5475208"/>
              <a:gd name="connsiteX14" fmla="*/ 1890 w 5505976"/>
              <a:gd name="connsiteY14" fmla="*/ 4275763 h 5475208"/>
              <a:gd name="connsiteX15" fmla="*/ 72446 w 5505976"/>
              <a:gd name="connsiteY15" fmla="*/ 4572097 h 5475208"/>
              <a:gd name="connsiteX16" fmla="*/ 241779 w 5505976"/>
              <a:gd name="connsiteY16" fmla="*/ 4755541 h 5475208"/>
              <a:gd name="connsiteX17" fmla="*/ 524001 w 5505976"/>
              <a:gd name="connsiteY17" fmla="*/ 4967208 h 5475208"/>
              <a:gd name="connsiteX18" fmla="*/ 763890 w 5505976"/>
              <a:gd name="connsiteY18" fmla="*/ 5080097 h 5475208"/>
              <a:gd name="connsiteX19" fmla="*/ 1102557 w 5505976"/>
              <a:gd name="connsiteY19" fmla="*/ 5263541 h 5475208"/>
              <a:gd name="connsiteX20" fmla="*/ 1427112 w 5505976"/>
              <a:gd name="connsiteY20" fmla="*/ 5404652 h 5475208"/>
              <a:gd name="connsiteX21" fmla="*/ 1667001 w 5505976"/>
              <a:gd name="connsiteY21" fmla="*/ 5446985 h 5475208"/>
              <a:gd name="connsiteX22" fmla="*/ 2287890 w 5505976"/>
              <a:gd name="connsiteY22" fmla="*/ 5475208 h 5475208"/>
              <a:gd name="connsiteX23" fmla="*/ 3021668 w 5505976"/>
              <a:gd name="connsiteY23" fmla="*/ 5446985 h 5475208"/>
              <a:gd name="connsiteX24" fmla="*/ 3402668 w 5505976"/>
              <a:gd name="connsiteY24" fmla="*/ 5235319 h 5475208"/>
              <a:gd name="connsiteX25" fmla="*/ 3529668 w 5505976"/>
              <a:gd name="connsiteY25" fmla="*/ 4981319 h 5475208"/>
              <a:gd name="connsiteX26" fmla="*/ 3600223 w 5505976"/>
              <a:gd name="connsiteY26" fmla="*/ 4473319 h 5475208"/>
              <a:gd name="connsiteX27" fmla="*/ 3670779 w 5505976"/>
              <a:gd name="connsiteY27" fmla="*/ 4318097 h 5475208"/>
              <a:gd name="connsiteX28" fmla="*/ 3741334 w 5505976"/>
              <a:gd name="connsiteY28" fmla="*/ 4191097 h 5475208"/>
              <a:gd name="connsiteX29" fmla="*/ 4065890 w 5505976"/>
              <a:gd name="connsiteY29" fmla="*/ 3951208 h 5475208"/>
              <a:gd name="connsiteX30" fmla="*/ 4291668 w 5505976"/>
              <a:gd name="connsiteY30" fmla="*/ 3824208 h 5475208"/>
              <a:gd name="connsiteX31" fmla="*/ 4517446 w 5505976"/>
              <a:gd name="connsiteY31" fmla="*/ 3697208 h 5475208"/>
              <a:gd name="connsiteX32" fmla="*/ 4715001 w 5505976"/>
              <a:gd name="connsiteY32" fmla="*/ 3584319 h 5475208"/>
              <a:gd name="connsiteX33" fmla="*/ 4870223 w 5505976"/>
              <a:gd name="connsiteY33" fmla="*/ 3485541 h 5475208"/>
              <a:gd name="connsiteX34" fmla="*/ 5237112 w 5505976"/>
              <a:gd name="connsiteY34" fmla="*/ 3302097 h 5475208"/>
              <a:gd name="connsiteX35" fmla="*/ 5350001 w 5505976"/>
              <a:gd name="connsiteY35" fmla="*/ 3104541 h 5475208"/>
              <a:gd name="connsiteX36" fmla="*/ 5420557 w 5505976"/>
              <a:gd name="connsiteY36" fmla="*/ 2667097 h 5475208"/>
              <a:gd name="connsiteX37" fmla="*/ 5505223 w 5505976"/>
              <a:gd name="connsiteY37" fmla="*/ 2243763 h 5475208"/>
              <a:gd name="connsiteX38" fmla="*/ 5462890 w 5505976"/>
              <a:gd name="connsiteY38" fmla="*/ 1636985 h 5475208"/>
              <a:gd name="connsiteX39" fmla="*/ 5477001 w 5505976"/>
              <a:gd name="connsiteY39" fmla="*/ 1114875 h 5475208"/>
              <a:gd name="connsiteX40" fmla="*/ 5420557 w 5505976"/>
              <a:gd name="connsiteY40" fmla="*/ 832652 h 5475208"/>
              <a:gd name="connsiteX41" fmla="*/ 5350002 w 5505976"/>
              <a:gd name="connsiteY41" fmla="*/ 493985 h 5475208"/>
              <a:gd name="connsiteX42" fmla="*/ 5208889 w 5505976"/>
              <a:gd name="connsiteY42" fmla="*/ 239986 h 5475208"/>
              <a:gd name="connsiteX43" fmla="*/ 4700889 w 5505976"/>
              <a:gd name="connsiteY43" fmla="*/ 14207 h 5475208"/>
              <a:gd name="connsiteX44" fmla="*/ 4164668 w 5505976"/>
              <a:gd name="connsiteY44" fmla="*/ 42430 h 5475208"/>
              <a:gd name="connsiteX45" fmla="*/ 3755446 w 5505976"/>
              <a:gd name="connsiteY45" fmla="*/ 197652 h 5475208"/>
              <a:gd name="connsiteX46" fmla="*/ 3473223 w 5505976"/>
              <a:gd name="connsiteY46" fmla="*/ 381097 h 5475208"/>
              <a:gd name="connsiteX47" fmla="*/ 3318001 w 5505976"/>
              <a:gd name="connsiteY47" fmla="*/ 620985 h 5475208"/>
              <a:gd name="connsiteX0" fmla="*/ 3318001 w 5505976"/>
              <a:gd name="connsiteY0" fmla="*/ 620985 h 5475208"/>
              <a:gd name="connsiteX1" fmla="*/ 3205112 w 5505976"/>
              <a:gd name="connsiteY1" fmla="*/ 1100764 h 5475208"/>
              <a:gd name="connsiteX2" fmla="*/ 3120446 w 5505976"/>
              <a:gd name="connsiteY2" fmla="*/ 1749874 h 5475208"/>
              <a:gd name="connsiteX3" fmla="*/ 3035779 w 5505976"/>
              <a:gd name="connsiteY3" fmla="*/ 2144986 h 5475208"/>
              <a:gd name="connsiteX4" fmla="*/ 2852334 w 5505976"/>
              <a:gd name="connsiteY4" fmla="*/ 2525985 h 5475208"/>
              <a:gd name="connsiteX5" fmla="*/ 2330223 w 5505976"/>
              <a:gd name="connsiteY5" fmla="*/ 2963430 h 5475208"/>
              <a:gd name="connsiteX6" fmla="*/ 2033890 w 5505976"/>
              <a:gd name="connsiteY6" fmla="*/ 3062208 h 5475208"/>
              <a:gd name="connsiteX7" fmla="*/ 1723446 w 5505976"/>
              <a:gd name="connsiteY7" fmla="*/ 3104541 h 5475208"/>
              <a:gd name="connsiteX8" fmla="*/ 1286001 w 5505976"/>
              <a:gd name="connsiteY8" fmla="*/ 3146874 h 5475208"/>
              <a:gd name="connsiteX9" fmla="*/ 1017890 w 5505976"/>
              <a:gd name="connsiteY9" fmla="*/ 3189208 h 5475208"/>
              <a:gd name="connsiteX10" fmla="*/ 651001 w 5505976"/>
              <a:gd name="connsiteY10" fmla="*/ 3302097 h 5475208"/>
              <a:gd name="connsiteX11" fmla="*/ 340557 w 5505976"/>
              <a:gd name="connsiteY11" fmla="*/ 3499652 h 5475208"/>
              <a:gd name="connsiteX12" fmla="*/ 171223 w 5505976"/>
              <a:gd name="connsiteY12" fmla="*/ 3711319 h 5475208"/>
              <a:gd name="connsiteX13" fmla="*/ 16001 w 5505976"/>
              <a:gd name="connsiteY13" fmla="*/ 4078208 h 5475208"/>
              <a:gd name="connsiteX14" fmla="*/ 1890 w 5505976"/>
              <a:gd name="connsiteY14" fmla="*/ 4275763 h 5475208"/>
              <a:gd name="connsiteX15" fmla="*/ 72446 w 5505976"/>
              <a:gd name="connsiteY15" fmla="*/ 4572097 h 5475208"/>
              <a:gd name="connsiteX16" fmla="*/ 241779 w 5505976"/>
              <a:gd name="connsiteY16" fmla="*/ 4755541 h 5475208"/>
              <a:gd name="connsiteX17" fmla="*/ 524001 w 5505976"/>
              <a:gd name="connsiteY17" fmla="*/ 4967208 h 5475208"/>
              <a:gd name="connsiteX18" fmla="*/ 763890 w 5505976"/>
              <a:gd name="connsiteY18" fmla="*/ 5080097 h 5475208"/>
              <a:gd name="connsiteX19" fmla="*/ 1102557 w 5505976"/>
              <a:gd name="connsiteY19" fmla="*/ 5263541 h 5475208"/>
              <a:gd name="connsiteX20" fmla="*/ 1427112 w 5505976"/>
              <a:gd name="connsiteY20" fmla="*/ 5404652 h 5475208"/>
              <a:gd name="connsiteX21" fmla="*/ 1667001 w 5505976"/>
              <a:gd name="connsiteY21" fmla="*/ 5446985 h 5475208"/>
              <a:gd name="connsiteX22" fmla="*/ 2287890 w 5505976"/>
              <a:gd name="connsiteY22" fmla="*/ 5475208 h 5475208"/>
              <a:gd name="connsiteX23" fmla="*/ 3021668 w 5505976"/>
              <a:gd name="connsiteY23" fmla="*/ 5446985 h 5475208"/>
              <a:gd name="connsiteX24" fmla="*/ 3402668 w 5505976"/>
              <a:gd name="connsiteY24" fmla="*/ 5235319 h 5475208"/>
              <a:gd name="connsiteX25" fmla="*/ 3529668 w 5505976"/>
              <a:gd name="connsiteY25" fmla="*/ 4981319 h 5475208"/>
              <a:gd name="connsiteX26" fmla="*/ 3600223 w 5505976"/>
              <a:gd name="connsiteY26" fmla="*/ 4473319 h 5475208"/>
              <a:gd name="connsiteX27" fmla="*/ 3670779 w 5505976"/>
              <a:gd name="connsiteY27" fmla="*/ 4318097 h 5475208"/>
              <a:gd name="connsiteX28" fmla="*/ 3741334 w 5505976"/>
              <a:gd name="connsiteY28" fmla="*/ 4191097 h 5475208"/>
              <a:gd name="connsiteX29" fmla="*/ 4065890 w 5505976"/>
              <a:gd name="connsiteY29" fmla="*/ 3951208 h 5475208"/>
              <a:gd name="connsiteX30" fmla="*/ 4291668 w 5505976"/>
              <a:gd name="connsiteY30" fmla="*/ 3824208 h 5475208"/>
              <a:gd name="connsiteX31" fmla="*/ 4517446 w 5505976"/>
              <a:gd name="connsiteY31" fmla="*/ 3697208 h 5475208"/>
              <a:gd name="connsiteX32" fmla="*/ 4715001 w 5505976"/>
              <a:gd name="connsiteY32" fmla="*/ 3584319 h 5475208"/>
              <a:gd name="connsiteX33" fmla="*/ 4870223 w 5505976"/>
              <a:gd name="connsiteY33" fmla="*/ 3485541 h 5475208"/>
              <a:gd name="connsiteX34" fmla="*/ 5237112 w 5505976"/>
              <a:gd name="connsiteY34" fmla="*/ 3302097 h 5475208"/>
              <a:gd name="connsiteX35" fmla="*/ 5350001 w 5505976"/>
              <a:gd name="connsiteY35" fmla="*/ 3104541 h 5475208"/>
              <a:gd name="connsiteX36" fmla="*/ 5420557 w 5505976"/>
              <a:gd name="connsiteY36" fmla="*/ 2667097 h 5475208"/>
              <a:gd name="connsiteX37" fmla="*/ 5505223 w 5505976"/>
              <a:gd name="connsiteY37" fmla="*/ 2243763 h 5475208"/>
              <a:gd name="connsiteX38" fmla="*/ 5462890 w 5505976"/>
              <a:gd name="connsiteY38" fmla="*/ 1636985 h 5475208"/>
              <a:gd name="connsiteX39" fmla="*/ 5477001 w 5505976"/>
              <a:gd name="connsiteY39" fmla="*/ 1114875 h 5475208"/>
              <a:gd name="connsiteX40" fmla="*/ 5420557 w 5505976"/>
              <a:gd name="connsiteY40" fmla="*/ 832652 h 5475208"/>
              <a:gd name="connsiteX41" fmla="*/ 5350002 w 5505976"/>
              <a:gd name="connsiteY41" fmla="*/ 493985 h 5475208"/>
              <a:gd name="connsiteX42" fmla="*/ 5208889 w 5505976"/>
              <a:gd name="connsiteY42" fmla="*/ 239986 h 5475208"/>
              <a:gd name="connsiteX43" fmla="*/ 4700889 w 5505976"/>
              <a:gd name="connsiteY43" fmla="*/ 14207 h 5475208"/>
              <a:gd name="connsiteX44" fmla="*/ 4164668 w 5505976"/>
              <a:gd name="connsiteY44" fmla="*/ 42430 h 5475208"/>
              <a:gd name="connsiteX45" fmla="*/ 3755446 w 5505976"/>
              <a:gd name="connsiteY45" fmla="*/ 197652 h 5475208"/>
              <a:gd name="connsiteX46" fmla="*/ 3473223 w 5505976"/>
              <a:gd name="connsiteY46" fmla="*/ 381097 h 5475208"/>
              <a:gd name="connsiteX47" fmla="*/ 3318001 w 5505976"/>
              <a:gd name="connsiteY47" fmla="*/ 620985 h 5475208"/>
              <a:gd name="connsiteX0" fmla="*/ 3318001 w 5505976"/>
              <a:gd name="connsiteY0" fmla="*/ 620985 h 5475208"/>
              <a:gd name="connsiteX1" fmla="*/ 3205112 w 5505976"/>
              <a:gd name="connsiteY1" fmla="*/ 1100764 h 5475208"/>
              <a:gd name="connsiteX2" fmla="*/ 3120446 w 5505976"/>
              <a:gd name="connsiteY2" fmla="*/ 1749874 h 5475208"/>
              <a:gd name="connsiteX3" fmla="*/ 3035779 w 5505976"/>
              <a:gd name="connsiteY3" fmla="*/ 2144986 h 5475208"/>
              <a:gd name="connsiteX4" fmla="*/ 2852334 w 5505976"/>
              <a:gd name="connsiteY4" fmla="*/ 2525985 h 5475208"/>
              <a:gd name="connsiteX5" fmla="*/ 2330223 w 5505976"/>
              <a:gd name="connsiteY5" fmla="*/ 2963430 h 5475208"/>
              <a:gd name="connsiteX6" fmla="*/ 2033890 w 5505976"/>
              <a:gd name="connsiteY6" fmla="*/ 3062208 h 5475208"/>
              <a:gd name="connsiteX7" fmla="*/ 1723446 w 5505976"/>
              <a:gd name="connsiteY7" fmla="*/ 3104541 h 5475208"/>
              <a:gd name="connsiteX8" fmla="*/ 1286001 w 5505976"/>
              <a:gd name="connsiteY8" fmla="*/ 3146874 h 5475208"/>
              <a:gd name="connsiteX9" fmla="*/ 1017890 w 5505976"/>
              <a:gd name="connsiteY9" fmla="*/ 3189208 h 5475208"/>
              <a:gd name="connsiteX10" fmla="*/ 651001 w 5505976"/>
              <a:gd name="connsiteY10" fmla="*/ 3302097 h 5475208"/>
              <a:gd name="connsiteX11" fmla="*/ 340557 w 5505976"/>
              <a:gd name="connsiteY11" fmla="*/ 3499652 h 5475208"/>
              <a:gd name="connsiteX12" fmla="*/ 171223 w 5505976"/>
              <a:gd name="connsiteY12" fmla="*/ 3711319 h 5475208"/>
              <a:gd name="connsiteX13" fmla="*/ 16001 w 5505976"/>
              <a:gd name="connsiteY13" fmla="*/ 4078208 h 5475208"/>
              <a:gd name="connsiteX14" fmla="*/ 1890 w 5505976"/>
              <a:gd name="connsiteY14" fmla="*/ 4275763 h 5475208"/>
              <a:gd name="connsiteX15" fmla="*/ 72446 w 5505976"/>
              <a:gd name="connsiteY15" fmla="*/ 4572097 h 5475208"/>
              <a:gd name="connsiteX16" fmla="*/ 524001 w 5505976"/>
              <a:gd name="connsiteY16" fmla="*/ 4967208 h 5475208"/>
              <a:gd name="connsiteX17" fmla="*/ 763890 w 5505976"/>
              <a:gd name="connsiteY17" fmla="*/ 5080097 h 5475208"/>
              <a:gd name="connsiteX18" fmla="*/ 1102557 w 5505976"/>
              <a:gd name="connsiteY18" fmla="*/ 5263541 h 5475208"/>
              <a:gd name="connsiteX19" fmla="*/ 1427112 w 5505976"/>
              <a:gd name="connsiteY19" fmla="*/ 5404652 h 5475208"/>
              <a:gd name="connsiteX20" fmla="*/ 1667001 w 5505976"/>
              <a:gd name="connsiteY20" fmla="*/ 5446985 h 5475208"/>
              <a:gd name="connsiteX21" fmla="*/ 2287890 w 5505976"/>
              <a:gd name="connsiteY21" fmla="*/ 5475208 h 5475208"/>
              <a:gd name="connsiteX22" fmla="*/ 3021668 w 5505976"/>
              <a:gd name="connsiteY22" fmla="*/ 5446985 h 5475208"/>
              <a:gd name="connsiteX23" fmla="*/ 3402668 w 5505976"/>
              <a:gd name="connsiteY23" fmla="*/ 5235319 h 5475208"/>
              <a:gd name="connsiteX24" fmla="*/ 3529668 w 5505976"/>
              <a:gd name="connsiteY24" fmla="*/ 4981319 h 5475208"/>
              <a:gd name="connsiteX25" fmla="*/ 3600223 w 5505976"/>
              <a:gd name="connsiteY25" fmla="*/ 4473319 h 5475208"/>
              <a:gd name="connsiteX26" fmla="*/ 3670779 w 5505976"/>
              <a:gd name="connsiteY26" fmla="*/ 4318097 h 5475208"/>
              <a:gd name="connsiteX27" fmla="*/ 3741334 w 5505976"/>
              <a:gd name="connsiteY27" fmla="*/ 4191097 h 5475208"/>
              <a:gd name="connsiteX28" fmla="*/ 4065890 w 5505976"/>
              <a:gd name="connsiteY28" fmla="*/ 3951208 h 5475208"/>
              <a:gd name="connsiteX29" fmla="*/ 4291668 w 5505976"/>
              <a:gd name="connsiteY29" fmla="*/ 3824208 h 5475208"/>
              <a:gd name="connsiteX30" fmla="*/ 4517446 w 5505976"/>
              <a:gd name="connsiteY30" fmla="*/ 3697208 h 5475208"/>
              <a:gd name="connsiteX31" fmla="*/ 4715001 w 5505976"/>
              <a:gd name="connsiteY31" fmla="*/ 3584319 h 5475208"/>
              <a:gd name="connsiteX32" fmla="*/ 4870223 w 5505976"/>
              <a:gd name="connsiteY32" fmla="*/ 3485541 h 5475208"/>
              <a:gd name="connsiteX33" fmla="*/ 5237112 w 5505976"/>
              <a:gd name="connsiteY33" fmla="*/ 3302097 h 5475208"/>
              <a:gd name="connsiteX34" fmla="*/ 5350001 w 5505976"/>
              <a:gd name="connsiteY34" fmla="*/ 3104541 h 5475208"/>
              <a:gd name="connsiteX35" fmla="*/ 5420557 w 5505976"/>
              <a:gd name="connsiteY35" fmla="*/ 2667097 h 5475208"/>
              <a:gd name="connsiteX36" fmla="*/ 5505223 w 5505976"/>
              <a:gd name="connsiteY36" fmla="*/ 2243763 h 5475208"/>
              <a:gd name="connsiteX37" fmla="*/ 5462890 w 5505976"/>
              <a:gd name="connsiteY37" fmla="*/ 1636985 h 5475208"/>
              <a:gd name="connsiteX38" fmla="*/ 5477001 w 5505976"/>
              <a:gd name="connsiteY38" fmla="*/ 1114875 h 5475208"/>
              <a:gd name="connsiteX39" fmla="*/ 5420557 w 5505976"/>
              <a:gd name="connsiteY39" fmla="*/ 832652 h 5475208"/>
              <a:gd name="connsiteX40" fmla="*/ 5350002 w 5505976"/>
              <a:gd name="connsiteY40" fmla="*/ 493985 h 5475208"/>
              <a:gd name="connsiteX41" fmla="*/ 5208889 w 5505976"/>
              <a:gd name="connsiteY41" fmla="*/ 239986 h 5475208"/>
              <a:gd name="connsiteX42" fmla="*/ 4700889 w 5505976"/>
              <a:gd name="connsiteY42" fmla="*/ 14207 h 5475208"/>
              <a:gd name="connsiteX43" fmla="*/ 4164668 w 5505976"/>
              <a:gd name="connsiteY43" fmla="*/ 42430 h 5475208"/>
              <a:gd name="connsiteX44" fmla="*/ 3755446 w 5505976"/>
              <a:gd name="connsiteY44" fmla="*/ 197652 h 5475208"/>
              <a:gd name="connsiteX45" fmla="*/ 3473223 w 5505976"/>
              <a:gd name="connsiteY45" fmla="*/ 381097 h 5475208"/>
              <a:gd name="connsiteX46" fmla="*/ 3318001 w 5505976"/>
              <a:gd name="connsiteY46" fmla="*/ 620985 h 5475208"/>
              <a:gd name="connsiteX0" fmla="*/ 3313700 w 5501675"/>
              <a:gd name="connsiteY0" fmla="*/ 620985 h 5475208"/>
              <a:gd name="connsiteX1" fmla="*/ 3200811 w 5501675"/>
              <a:gd name="connsiteY1" fmla="*/ 1100764 h 5475208"/>
              <a:gd name="connsiteX2" fmla="*/ 3116145 w 5501675"/>
              <a:gd name="connsiteY2" fmla="*/ 1749874 h 5475208"/>
              <a:gd name="connsiteX3" fmla="*/ 3031478 w 5501675"/>
              <a:gd name="connsiteY3" fmla="*/ 2144986 h 5475208"/>
              <a:gd name="connsiteX4" fmla="*/ 2848033 w 5501675"/>
              <a:gd name="connsiteY4" fmla="*/ 2525985 h 5475208"/>
              <a:gd name="connsiteX5" fmla="*/ 2325922 w 5501675"/>
              <a:gd name="connsiteY5" fmla="*/ 2963430 h 5475208"/>
              <a:gd name="connsiteX6" fmla="*/ 2029589 w 5501675"/>
              <a:gd name="connsiteY6" fmla="*/ 3062208 h 5475208"/>
              <a:gd name="connsiteX7" fmla="*/ 1719145 w 5501675"/>
              <a:gd name="connsiteY7" fmla="*/ 3104541 h 5475208"/>
              <a:gd name="connsiteX8" fmla="*/ 1281700 w 5501675"/>
              <a:gd name="connsiteY8" fmla="*/ 3146874 h 5475208"/>
              <a:gd name="connsiteX9" fmla="*/ 1013589 w 5501675"/>
              <a:gd name="connsiteY9" fmla="*/ 3189208 h 5475208"/>
              <a:gd name="connsiteX10" fmla="*/ 646700 w 5501675"/>
              <a:gd name="connsiteY10" fmla="*/ 3302097 h 5475208"/>
              <a:gd name="connsiteX11" fmla="*/ 336256 w 5501675"/>
              <a:gd name="connsiteY11" fmla="*/ 3499652 h 5475208"/>
              <a:gd name="connsiteX12" fmla="*/ 166922 w 5501675"/>
              <a:gd name="connsiteY12" fmla="*/ 3711319 h 5475208"/>
              <a:gd name="connsiteX13" fmla="*/ 11700 w 5501675"/>
              <a:gd name="connsiteY13" fmla="*/ 4078208 h 5475208"/>
              <a:gd name="connsiteX14" fmla="*/ 68145 w 5501675"/>
              <a:gd name="connsiteY14" fmla="*/ 4572097 h 5475208"/>
              <a:gd name="connsiteX15" fmla="*/ 519700 w 5501675"/>
              <a:gd name="connsiteY15" fmla="*/ 4967208 h 5475208"/>
              <a:gd name="connsiteX16" fmla="*/ 759589 w 5501675"/>
              <a:gd name="connsiteY16" fmla="*/ 5080097 h 5475208"/>
              <a:gd name="connsiteX17" fmla="*/ 1098256 w 5501675"/>
              <a:gd name="connsiteY17" fmla="*/ 5263541 h 5475208"/>
              <a:gd name="connsiteX18" fmla="*/ 1422811 w 5501675"/>
              <a:gd name="connsiteY18" fmla="*/ 5404652 h 5475208"/>
              <a:gd name="connsiteX19" fmla="*/ 1662700 w 5501675"/>
              <a:gd name="connsiteY19" fmla="*/ 5446985 h 5475208"/>
              <a:gd name="connsiteX20" fmla="*/ 2283589 w 5501675"/>
              <a:gd name="connsiteY20" fmla="*/ 5475208 h 5475208"/>
              <a:gd name="connsiteX21" fmla="*/ 3017367 w 5501675"/>
              <a:gd name="connsiteY21" fmla="*/ 5446985 h 5475208"/>
              <a:gd name="connsiteX22" fmla="*/ 3398367 w 5501675"/>
              <a:gd name="connsiteY22" fmla="*/ 5235319 h 5475208"/>
              <a:gd name="connsiteX23" fmla="*/ 3525367 w 5501675"/>
              <a:gd name="connsiteY23" fmla="*/ 4981319 h 5475208"/>
              <a:gd name="connsiteX24" fmla="*/ 3595922 w 5501675"/>
              <a:gd name="connsiteY24" fmla="*/ 4473319 h 5475208"/>
              <a:gd name="connsiteX25" fmla="*/ 3666478 w 5501675"/>
              <a:gd name="connsiteY25" fmla="*/ 4318097 h 5475208"/>
              <a:gd name="connsiteX26" fmla="*/ 3737033 w 5501675"/>
              <a:gd name="connsiteY26" fmla="*/ 4191097 h 5475208"/>
              <a:gd name="connsiteX27" fmla="*/ 4061589 w 5501675"/>
              <a:gd name="connsiteY27" fmla="*/ 3951208 h 5475208"/>
              <a:gd name="connsiteX28" fmla="*/ 4287367 w 5501675"/>
              <a:gd name="connsiteY28" fmla="*/ 3824208 h 5475208"/>
              <a:gd name="connsiteX29" fmla="*/ 4513145 w 5501675"/>
              <a:gd name="connsiteY29" fmla="*/ 3697208 h 5475208"/>
              <a:gd name="connsiteX30" fmla="*/ 4710700 w 5501675"/>
              <a:gd name="connsiteY30" fmla="*/ 3584319 h 5475208"/>
              <a:gd name="connsiteX31" fmla="*/ 4865922 w 5501675"/>
              <a:gd name="connsiteY31" fmla="*/ 3485541 h 5475208"/>
              <a:gd name="connsiteX32" fmla="*/ 5232811 w 5501675"/>
              <a:gd name="connsiteY32" fmla="*/ 3302097 h 5475208"/>
              <a:gd name="connsiteX33" fmla="*/ 5345700 w 5501675"/>
              <a:gd name="connsiteY33" fmla="*/ 3104541 h 5475208"/>
              <a:gd name="connsiteX34" fmla="*/ 5416256 w 5501675"/>
              <a:gd name="connsiteY34" fmla="*/ 2667097 h 5475208"/>
              <a:gd name="connsiteX35" fmla="*/ 5500922 w 5501675"/>
              <a:gd name="connsiteY35" fmla="*/ 2243763 h 5475208"/>
              <a:gd name="connsiteX36" fmla="*/ 5458589 w 5501675"/>
              <a:gd name="connsiteY36" fmla="*/ 1636985 h 5475208"/>
              <a:gd name="connsiteX37" fmla="*/ 5472700 w 5501675"/>
              <a:gd name="connsiteY37" fmla="*/ 1114875 h 5475208"/>
              <a:gd name="connsiteX38" fmla="*/ 5416256 w 5501675"/>
              <a:gd name="connsiteY38" fmla="*/ 832652 h 5475208"/>
              <a:gd name="connsiteX39" fmla="*/ 5345701 w 5501675"/>
              <a:gd name="connsiteY39" fmla="*/ 493985 h 5475208"/>
              <a:gd name="connsiteX40" fmla="*/ 5204588 w 5501675"/>
              <a:gd name="connsiteY40" fmla="*/ 239986 h 5475208"/>
              <a:gd name="connsiteX41" fmla="*/ 4696588 w 5501675"/>
              <a:gd name="connsiteY41" fmla="*/ 14207 h 5475208"/>
              <a:gd name="connsiteX42" fmla="*/ 4160367 w 5501675"/>
              <a:gd name="connsiteY42" fmla="*/ 42430 h 5475208"/>
              <a:gd name="connsiteX43" fmla="*/ 3751145 w 5501675"/>
              <a:gd name="connsiteY43" fmla="*/ 197652 h 5475208"/>
              <a:gd name="connsiteX44" fmla="*/ 3468922 w 5501675"/>
              <a:gd name="connsiteY44" fmla="*/ 381097 h 5475208"/>
              <a:gd name="connsiteX45" fmla="*/ 3313700 w 5501675"/>
              <a:gd name="connsiteY45" fmla="*/ 620985 h 5475208"/>
              <a:gd name="connsiteX0" fmla="*/ 3313700 w 5501675"/>
              <a:gd name="connsiteY0" fmla="*/ 620985 h 5475208"/>
              <a:gd name="connsiteX1" fmla="*/ 3200811 w 5501675"/>
              <a:gd name="connsiteY1" fmla="*/ 1100764 h 5475208"/>
              <a:gd name="connsiteX2" fmla="*/ 3116145 w 5501675"/>
              <a:gd name="connsiteY2" fmla="*/ 1749874 h 5475208"/>
              <a:gd name="connsiteX3" fmla="*/ 3031478 w 5501675"/>
              <a:gd name="connsiteY3" fmla="*/ 2144986 h 5475208"/>
              <a:gd name="connsiteX4" fmla="*/ 2848033 w 5501675"/>
              <a:gd name="connsiteY4" fmla="*/ 2525985 h 5475208"/>
              <a:gd name="connsiteX5" fmla="*/ 2325922 w 5501675"/>
              <a:gd name="connsiteY5" fmla="*/ 2963430 h 5475208"/>
              <a:gd name="connsiteX6" fmla="*/ 2029589 w 5501675"/>
              <a:gd name="connsiteY6" fmla="*/ 3062208 h 5475208"/>
              <a:gd name="connsiteX7" fmla="*/ 1719145 w 5501675"/>
              <a:gd name="connsiteY7" fmla="*/ 3104541 h 5475208"/>
              <a:gd name="connsiteX8" fmla="*/ 1281700 w 5501675"/>
              <a:gd name="connsiteY8" fmla="*/ 3146874 h 5475208"/>
              <a:gd name="connsiteX9" fmla="*/ 1013589 w 5501675"/>
              <a:gd name="connsiteY9" fmla="*/ 3189208 h 5475208"/>
              <a:gd name="connsiteX10" fmla="*/ 646700 w 5501675"/>
              <a:gd name="connsiteY10" fmla="*/ 3302097 h 5475208"/>
              <a:gd name="connsiteX11" fmla="*/ 336256 w 5501675"/>
              <a:gd name="connsiteY11" fmla="*/ 3499652 h 5475208"/>
              <a:gd name="connsiteX12" fmla="*/ 166922 w 5501675"/>
              <a:gd name="connsiteY12" fmla="*/ 3711319 h 5475208"/>
              <a:gd name="connsiteX13" fmla="*/ 11700 w 5501675"/>
              <a:gd name="connsiteY13" fmla="*/ 4078208 h 5475208"/>
              <a:gd name="connsiteX14" fmla="*/ 68145 w 5501675"/>
              <a:gd name="connsiteY14" fmla="*/ 4572097 h 5475208"/>
              <a:gd name="connsiteX15" fmla="*/ 519700 w 5501675"/>
              <a:gd name="connsiteY15" fmla="*/ 4967208 h 5475208"/>
              <a:gd name="connsiteX16" fmla="*/ 759589 w 5501675"/>
              <a:gd name="connsiteY16" fmla="*/ 5080097 h 5475208"/>
              <a:gd name="connsiteX17" fmla="*/ 1098256 w 5501675"/>
              <a:gd name="connsiteY17" fmla="*/ 5263541 h 5475208"/>
              <a:gd name="connsiteX18" fmla="*/ 1662700 w 5501675"/>
              <a:gd name="connsiteY18" fmla="*/ 5446985 h 5475208"/>
              <a:gd name="connsiteX19" fmla="*/ 2283589 w 5501675"/>
              <a:gd name="connsiteY19" fmla="*/ 5475208 h 5475208"/>
              <a:gd name="connsiteX20" fmla="*/ 3017367 w 5501675"/>
              <a:gd name="connsiteY20" fmla="*/ 5446985 h 5475208"/>
              <a:gd name="connsiteX21" fmla="*/ 3398367 w 5501675"/>
              <a:gd name="connsiteY21" fmla="*/ 5235319 h 5475208"/>
              <a:gd name="connsiteX22" fmla="*/ 3525367 w 5501675"/>
              <a:gd name="connsiteY22" fmla="*/ 4981319 h 5475208"/>
              <a:gd name="connsiteX23" fmla="*/ 3595922 w 5501675"/>
              <a:gd name="connsiteY23" fmla="*/ 4473319 h 5475208"/>
              <a:gd name="connsiteX24" fmla="*/ 3666478 w 5501675"/>
              <a:gd name="connsiteY24" fmla="*/ 4318097 h 5475208"/>
              <a:gd name="connsiteX25" fmla="*/ 3737033 w 5501675"/>
              <a:gd name="connsiteY25" fmla="*/ 4191097 h 5475208"/>
              <a:gd name="connsiteX26" fmla="*/ 4061589 w 5501675"/>
              <a:gd name="connsiteY26" fmla="*/ 3951208 h 5475208"/>
              <a:gd name="connsiteX27" fmla="*/ 4287367 w 5501675"/>
              <a:gd name="connsiteY27" fmla="*/ 3824208 h 5475208"/>
              <a:gd name="connsiteX28" fmla="*/ 4513145 w 5501675"/>
              <a:gd name="connsiteY28" fmla="*/ 3697208 h 5475208"/>
              <a:gd name="connsiteX29" fmla="*/ 4710700 w 5501675"/>
              <a:gd name="connsiteY29" fmla="*/ 3584319 h 5475208"/>
              <a:gd name="connsiteX30" fmla="*/ 4865922 w 5501675"/>
              <a:gd name="connsiteY30" fmla="*/ 3485541 h 5475208"/>
              <a:gd name="connsiteX31" fmla="*/ 5232811 w 5501675"/>
              <a:gd name="connsiteY31" fmla="*/ 3302097 h 5475208"/>
              <a:gd name="connsiteX32" fmla="*/ 5345700 w 5501675"/>
              <a:gd name="connsiteY32" fmla="*/ 3104541 h 5475208"/>
              <a:gd name="connsiteX33" fmla="*/ 5416256 w 5501675"/>
              <a:gd name="connsiteY33" fmla="*/ 2667097 h 5475208"/>
              <a:gd name="connsiteX34" fmla="*/ 5500922 w 5501675"/>
              <a:gd name="connsiteY34" fmla="*/ 2243763 h 5475208"/>
              <a:gd name="connsiteX35" fmla="*/ 5458589 w 5501675"/>
              <a:gd name="connsiteY35" fmla="*/ 1636985 h 5475208"/>
              <a:gd name="connsiteX36" fmla="*/ 5472700 w 5501675"/>
              <a:gd name="connsiteY36" fmla="*/ 1114875 h 5475208"/>
              <a:gd name="connsiteX37" fmla="*/ 5416256 w 5501675"/>
              <a:gd name="connsiteY37" fmla="*/ 832652 h 5475208"/>
              <a:gd name="connsiteX38" fmla="*/ 5345701 w 5501675"/>
              <a:gd name="connsiteY38" fmla="*/ 493985 h 5475208"/>
              <a:gd name="connsiteX39" fmla="*/ 5204588 w 5501675"/>
              <a:gd name="connsiteY39" fmla="*/ 239986 h 5475208"/>
              <a:gd name="connsiteX40" fmla="*/ 4696588 w 5501675"/>
              <a:gd name="connsiteY40" fmla="*/ 14207 h 5475208"/>
              <a:gd name="connsiteX41" fmla="*/ 4160367 w 5501675"/>
              <a:gd name="connsiteY41" fmla="*/ 42430 h 5475208"/>
              <a:gd name="connsiteX42" fmla="*/ 3751145 w 5501675"/>
              <a:gd name="connsiteY42" fmla="*/ 197652 h 5475208"/>
              <a:gd name="connsiteX43" fmla="*/ 3468922 w 5501675"/>
              <a:gd name="connsiteY43" fmla="*/ 381097 h 5475208"/>
              <a:gd name="connsiteX44" fmla="*/ 3313700 w 5501675"/>
              <a:gd name="connsiteY44" fmla="*/ 620985 h 5475208"/>
              <a:gd name="connsiteX0" fmla="*/ 3313700 w 5501675"/>
              <a:gd name="connsiteY0" fmla="*/ 620985 h 5475208"/>
              <a:gd name="connsiteX1" fmla="*/ 3200811 w 5501675"/>
              <a:gd name="connsiteY1" fmla="*/ 1100764 h 5475208"/>
              <a:gd name="connsiteX2" fmla="*/ 3116145 w 5501675"/>
              <a:gd name="connsiteY2" fmla="*/ 1749874 h 5475208"/>
              <a:gd name="connsiteX3" fmla="*/ 3031478 w 5501675"/>
              <a:gd name="connsiteY3" fmla="*/ 2144986 h 5475208"/>
              <a:gd name="connsiteX4" fmla="*/ 2848033 w 5501675"/>
              <a:gd name="connsiteY4" fmla="*/ 2525985 h 5475208"/>
              <a:gd name="connsiteX5" fmla="*/ 2325922 w 5501675"/>
              <a:gd name="connsiteY5" fmla="*/ 2963430 h 5475208"/>
              <a:gd name="connsiteX6" fmla="*/ 2029589 w 5501675"/>
              <a:gd name="connsiteY6" fmla="*/ 3062208 h 5475208"/>
              <a:gd name="connsiteX7" fmla="*/ 1719145 w 5501675"/>
              <a:gd name="connsiteY7" fmla="*/ 3104541 h 5475208"/>
              <a:gd name="connsiteX8" fmla="*/ 1281700 w 5501675"/>
              <a:gd name="connsiteY8" fmla="*/ 3146874 h 5475208"/>
              <a:gd name="connsiteX9" fmla="*/ 1013589 w 5501675"/>
              <a:gd name="connsiteY9" fmla="*/ 3189208 h 5475208"/>
              <a:gd name="connsiteX10" fmla="*/ 646700 w 5501675"/>
              <a:gd name="connsiteY10" fmla="*/ 3302097 h 5475208"/>
              <a:gd name="connsiteX11" fmla="*/ 336256 w 5501675"/>
              <a:gd name="connsiteY11" fmla="*/ 3499652 h 5475208"/>
              <a:gd name="connsiteX12" fmla="*/ 166922 w 5501675"/>
              <a:gd name="connsiteY12" fmla="*/ 3711319 h 5475208"/>
              <a:gd name="connsiteX13" fmla="*/ 11700 w 5501675"/>
              <a:gd name="connsiteY13" fmla="*/ 4078208 h 5475208"/>
              <a:gd name="connsiteX14" fmla="*/ 68145 w 5501675"/>
              <a:gd name="connsiteY14" fmla="*/ 4572097 h 5475208"/>
              <a:gd name="connsiteX15" fmla="*/ 519700 w 5501675"/>
              <a:gd name="connsiteY15" fmla="*/ 4967208 h 5475208"/>
              <a:gd name="connsiteX16" fmla="*/ 759589 w 5501675"/>
              <a:gd name="connsiteY16" fmla="*/ 5080097 h 5475208"/>
              <a:gd name="connsiteX17" fmla="*/ 1070034 w 5501675"/>
              <a:gd name="connsiteY17" fmla="*/ 5291763 h 5475208"/>
              <a:gd name="connsiteX18" fmla="*/ 1662700 w 5501675"/>
              <a:gd name="connsiteY18" fmla="*/ 5446985 h 5475208"/>
              <a:gd name="connsiteX19" fmla="*/ 2283589 w 5501675"/>
              <a:gd name="connsiteY19" fmla="*/ 5475208 h 5475208"/>
              <a:gd name="connsiteX20" fmla="*/ 3017367 w 5501675"/>
              <a:gd name="connsiteY20" fmla="*/ 5446985 h 5475208"/>
              <a:gd name="connsiteX21" fmla="*/ 3398367 w 5501675"/>
              <a:gd name="connsiteY21" fmla="*/ 5235319 h 5475208"/>
              <a:gd name="connsiteX22" fmla="*/ 3525367 w 5501675"/>
              <a:gd name="connsiteY22" fmla="*/ 4981319 h 5475208"/>
              <a:gd name="connsiteX23" fmla="*/ 3595922 w 5501675"/>
              <a:gd name="connsiteY23" fmla="*/ 4473319 h 5475208"/>
              <a:gd name="connsiteX24" fmla="*/ 3666478 w 5501675"/>
              <a:gd name="connsiteY24" fmla="*/ 4318097 h 5475208"/>
              <a:gd name="connsiteX25" fmla="*/ 3737033 w 5501675"/>
              <a:gd name="connsiteY25" fmla="*/ 4191097 h 5475208"/>
              <a:gd name="connsiteX26" fmla="*/ 4061589 w 5501675"/>
              <a:gd name="connsiteY26" fmla="*/ 3951208 h 5475208"/>
              <a:gd name="connsiteX27" fmla="*/ 4287367 w 5501675"/>
              <a:gd name="connsiteY27" fmla="*/ 3824208 h 5475208"/>
              <a:gd name="connsiteX28" fmla="*/ 4513145 w 5501675"/>
              <a:gd name="connsiteY28" fmla="*/ 3697208 h 5475208"/>
              <a:gd name="connsiteX29" fmla="*/ 4710700 w 5501675"/>
              <a:gd name="connsiteY29" fmla="*/ 3584319 h 5475208"/>
              <a:gd name="connsiteX30" fmla="*/ 4865922 w 5501675"/>
              <a:gd name="connsiteY30" fmla="*/ 3485541 h 5475208"/>
              <a:gd name="connsiteX31" fmla="*/ 5232811 w 5501675"/>
              <a:gd name="connsiteY31" fmla="*/ 3302097 h 5475208"/>
              <a:gd name="connsiteX32" fmla="*/ 5345700 w 5501675"/>
              <a:gd name="connsiteY32" fmla="*/ 3104541 h 5475208"/>
              <a:gd name="connsiteX33" fmla="*/ 5416256 w 5501675"/>
              <a:gd name="connsiteY33" fmla="*/ 2667097 h 5475208"/>
              <a:gd name="connsiteX34" fmla="*/ 5500922 w 5501675"/>
              <a:gd name="connsiteY34" fmla="*/ 2243763 h 5475208"/>
              <a:gd name="connsiteX35" fmla="*/ 5458589 w 5501675"/>
              <a:gd name="connsiteY35" fmla="*/ 1636985 h 5475208"/>
              <a:gd name="connsiteX36" fmla="*/ 5472700 w 5501675"/>
              <a:gd name="connsiteY36" fmla="*/ 1114875 h 5475208"/>
              <a:gd name="connsiteX37" fmla="*/ 5416256 w 5501675"/>
              <a:gd name="connsiteY37" fmla="*/ 832652 h 5475208"/>
              <a:gd name="connsiteX38" fmla="*/ 5345701 w 5501675"/>
              <a:gd name="connsiteY38" fmla="*/ 493985 h 5475208"/>
              <a:gd name="connsiteX39" fmla="*/ 5204588 w 5501675"/>
              <a:gd name="connsiteY39" fmla="*/ 239986 h 5475208"/>
              <a:gd name="connsiteX40" fmla="*/ 4696588 w 5501675"/>
              <a:gd name="connsiteY40" fmla="*/ 14207 h 5475208"/>
              <a:gd name="connsiteX41" fmla="*/ 4160367 w 5501675"/>
              <a:gd name="connsiteY41" fmla="*/ 42430 h 5475208"/>
              <a:gd name="connsiteX42" fmla="*/ 3751145 w 5501675"/>
              <a:gd name="connsiteY42" fmla="*/ 197652 h 5475208"/>
              <a:gd name="connsiteX43" fmla="*/ 3468922 w 5501675"/>
              <a:gd name="connsiteY43" fmla="*/ 381097 h 5475208"/>
              <a:gd name="connsiteX44" fmla="*/ 3313700 w 5501675"/>
              <a:gd name="connsiteY44" fmla="*/ 620985 h 5475208"/>
              <a:gd name="connsiteX0" fmla="*/ 3313700 w 5501675"/>
              <a:gd name="connsiteY0" fmla="*/ 620985 h 5475208"/>
              <a:gd name="connsiteX1" fmla="*/ 3200811 w 5501675"/>
              <a:gd name="connsiteY1" fmla="*/ 1100764 h 5475208"/>
              <a:gd name="connsiteX2" fmla="*/ 3116145 w 5501675"/>
              <a:gd name="connsiteY2" fmla="*/ 1749874 h 5475208"/>
              <a:gd name="connsiteX3" fmla="*/ 3031478 w 5501675"/>
              <a:gd name="connsiteY3" fmla="*/ 2144986 h 5475208"/>
              <a:gd name="connsiteX4" fmla="*/ 2848033 w 5501675"/>
              <a:gd name="connsiteY4" fmla="*/ 2525985 h 5475208"/>
              <a:gd name="connsiteX5" fmla="*/ 2325922 w 5501675"/>
              <a:gd name="connsiteY5" fmla="*/ 2963430 h 5475208"/>
              <a:gd name="connsiteX6" fmla="*/ 2029589 w 5501675"/>
              <a:gd name="connsiteY6" fmla="*/ 3062208 h 5475208"/>
              <a:gd name="connsiteX7" fmla="*/ 1719145 w 5501675"/>
              <a:gd name="connsiteY7" fmla="*/ 3104541 h 5475208"/>
              <a:gd name="connsiteX8" fmla="*/ 1281700 w 5501675"/>
              <a:gd name="connsiteY8" fmla="*/ 3146874 h 5475208"/>
              <a:gd name="connsiteX9" fmla="*/ 1013589 w 5501675"/>
              <a:gd name="connsiteY9" fmla="*/ 3189208 h 5475208"/>
              <a:gd name="connsiteX10" fmla="*/ 646700 w 5501675"/>
              <a:gd name="connsiteY10" fmla="*/ 3302097 h 5475208"/>
              <a:gd name="connsiteX11" fmla="*/ 336256 w 5501675"/>
              <a:gd name="connsiteY11" fmla="*/ 3499652 h 5475208"/>
              <a:gd name="connsiteX12" fmla="*/ 166922 w 5501675"/>
              <a:gd name="connsiteY12" fmla="*/ 3711319 h 5475208"/>
              <a:gd name="connsiteX13" fmla="*/ 11700 w 5501675"/>
              <a:gd name="connsiteY13" fmla="*/ 4078208 h 5475208"/>
              <a:gd name="connsiteX14" fmla="*/ 68145 w 5501675"/>
              <a:gd name="connsiteY14" fmla="*/ 4572097 h 5475208"/>
              <a:gd name="connsiteX15" fmla="*/ 519700 w 5501675"/>
              <a:gd name="connsiteY15" fmla="*/ 4967208 h 5475208"/>
              <a:gd name="connsiteX16" fmla="*/ 717256 w 5501675"/>
              <a:gd name="connsiteY16" fmla="*/ 5108319 h 5475208"/>
              <a:gd name="connsiteX17" fmla="*/ 1070034 w 5501675"/>
              <a:gd name="connsiteY17" fmla="*/ 5291763 h 5475208"/>
              <a:gd name="connsiteX18" fmla="*/ 1662700 w 5501675"/>
              <a:gd name="connsiteY18" fmla="*/ 5446985 h 5475208"/>
              <a:gd name="connsiteX19" fmla="*/ 2283589 w 5501675"/>
              <a:gd name="connsiteY19" fmla="*/ 5475208 h 5475208"/>
              <a:gd name="connsiteX20" fmla="*/ 3017367 w 5501675"/>
              <a:gd name="connsiteY20" fmla="*/ 5446985 h 5475208"/>
              <a:gd name="connsiteX21" fmla="*/ 3398367 w 5501675"/>
              <a:gd name="connsiteY21" fmla="*/ 5235319 h 5475208"/>
              <a:gd name="connsiteX22" fmla="*/ 3525367 w 5501675"/>
              <a:gd name="connsiteY22" fmla="*/ 4981319 h 5475208"/>
              <a:gd name="connsiteX23" fmla="*/ 3595922 w 5501675"/>
              <a:gd name="connsiteY23" fmla="*/ 4473319 h 5475208"/>
              <a:gd name="connsiteX24" fmla="*/ 3666478 w 5501675"/>
              <a:gd name="connsiteY24" fmla="*/ 4318097 h 5475208"/>
              <a:gd name="connsiteX25" fmla="*/ 3737033 w 5501675"/>
              <a:gd name="connsiteY25" fmla="*/ 4191097 h 5475208"/>
              <a:gd name="connsiteX26" fmla="*/ 4061589 w 5501675"/>
              <a:gd name="connsiteY26" fmla="*/ 3951208 h 5475208"/>
              <a:gd name="connsiteX27" fmla="*/ 4287367 w 5501675"/>
              <a:gd name="connsiteY27" fmla="*/ 3824208 h 5475208"/>
              <a:gd name="connsiteX28" fmla="*/ 4513145 w 5501675"/>
              <a:gd name="connsiteY28" fmla="*/ 3697208 h 5475208"/>
              <a:gd name="connsiteX29" fmla="*/ 4710700 w 5501675"/>
              <a:gd name="connsiteY29" fmla="*/ 3584319 h 5475208"/>
              <a:gd name="connsiteX30" fmla="*/ 4865922 w 5501675"/>
              <a:gd name="connsiteY30" fmla="*/ 3485541 h 5475208"/>
              <a:gd name="connsiteX31" fmla="*/ 5232811 w 5501675"/>
              <a:gd name="connsiteY31" fmla="*/ 3302097 h 5475208"/>
              <a:gd name="connsiteX32" fmla="*/ 5345700 w 5501675"/>
              <a:gd name="connsiteY32" fmla="*/ 3104541 h 5475208"/>
              <a:gd name="connsiteX33" fmla="*/ 5416256 w 5501675"/>
              <a:gd name="connsiteY33" fmla="*/ 2667097 h 5475208"/>
              <a:gd name="connsiteX34" fmla="*/ 5500922 w 5501675"/>
              <a:gd name="connsiteY34" fmla="*/ 2243763 h 5475208"/>
              <a:gd name="connsiteX35" fmla="*/ 5458589 w 5501675"/>
              <a:gd name="connsiteY35" fmla="*/ 1636985 h 5475208"/>
              <a:gd name="connsiteX36" fmla="*/ 5472700 w 5501675"/>
              <a:gd name="connsiteY36" fmla="*/ 1114875 h 5475208"/>
              <a:gd name="connsiteX37" fmla="*/ 5416256 w 5501675"/>
              <a:gd name="connsiteY37" fmla="*/ 832652 h 5475208"/>
              <a:gd name="connsiteX38" fmla="*/ 5345701 w 5501675"/>
              <a:gd name="connsiteY38" fmla="*/ 493985 h 5475208"/>
              <a:gd name="connsiteX39" fmla="*/ 5204588 w 5501675"/>
              <a:gd name="connsiteY39" fmla="*/ 239986 h 5475208"/>
              <a:gd name="connsiteX40" fmla="*/ 4696588 w 5501675"/>
              <a:gd name="connsiteY40" fmla="*/ 14207 h 5475208"/>
              <a:gd name="connsiteX41" fmla="*/ 4160367 w 5501675"/>
              <a:gd name="connsiteY41" fmla="*/ 42430 h 5475208"/>
              <a:gd name="connsiteX42" fmla="*/ 3751145 w 5501675"/>
              <a:gd name="connsiteY42" fmla="*/ 197652 h 5475208"/>
              <a:gd name="connsiteX43" fmla="*/ 3468922 w 5501675"/>
              <a:gd name="connsiteY43" fmla="*/ 381097 h 5475208"/>
              <a:gd name="connsiteX44" fmla="*/ 3313700 w 5501675"/>
              <a:gd name="connsiteY44" fmla="*/ 620985 h 5475208"/>
              <a:gd name="connsiteX0" fmla="*/ 3313700 w 5501675"/>
              <a:gd name="connsiteY0" fmla="*/ 620985 h 5475208"/>
              <a:gd name="connsiteX1" fmla="*/ 3200811 w 5501675"/>
              <a:gd name="connsiteY1" fmla="*/ 1100764 h 5475208"/>
              <a:gd name="connsiteX2" fmla="*/ 3116145 w 5501675"/>
              <a:gd name="connsiteY2" fmla="*/ 1749874 h 5475208"/>
              <a:gd name="connsiteX3" fmla="*/ 3031478 w 5501675"/>
              <a:gd name="connsiteY3" fmla="*/ 2144986 h 5475208"/>
              <a:gd name="connsiteX4" fmla="*/ 2848033 w 5501675"/>
              <a:gd name="connsiteY4" fmla="*/ 2525985 h 5475208"/>
              <a:gd name="connsiteX5" fmla="*/ 2325922 w 5501675"/>
              <a:gd name="connsiteY5" fmla="*/ 2963430 h 5475208"/>
              <a:gd name="connsiteX6" fmla="*/ 2029589 w 5501675"/>
              <a:gd name="connsiteY6" fmla="*/ 3062208 h 5475208"/>
              <a:gd name="connsiteX7" fmla="*/ 1719145 w 5501675"/>
              <a:gd name="connsiteY7" fmla="*/ 3104541 h 5475208"/>
              <a:gd name="connsiteX8" fmla="*/ 1281700 w 5501675"/>
              <a:gd name="connsiteY8" fmla="*/ 3146874 h 5475208"/>
              <a:gd name="connsiteX9" fmla="*/ 1013589 w 5501675"/>
              <a:gd name="connsiteY9" fmla="*/ 3189208 h 5475208"/>
              <a:gd name="connsiteX10" fmla="*/ 646700 w 5501675"/>
              <a:gd name="connsiteY10" fmla="*/ 3302097 h 5475208"/>
              <a:gd name="connsiteX11" fmla="*/ 336256 w 5501675"/>
              <a:gd name="connsiteY11" fmla="*/ 3499652 h 5475208"/>
              <a:gd name="connsiteX12" fmla="*/ 166922 w 5501675"/>
              <a:gd name="connsiteY12" fmla="*/ 3711319 h 5475208"/>
              <a:gd name="connsiteX13" fmla="*/ 11700 w 5501675"/>
              <a:gd name="connsiteY13" fmla="*/ 4078208 h 5475208"/>
              <a:gd name="connsiteX14" fmla="*/ 68145 w 5501675"/>
              <a:gd name="connsiteY14" fmla="*/ 4572097 h 5475208"/>
              <a:gd name="connsiteX15" fmla="*/ 519700 w 5501675"/>
              <a:gd name="connsiteY15" fmla="*/ 4967208 h 5475208"/>
              <a:gd name="connsiteX16" fmla="*/ 1070034 w 5501675"/>
              <a:gd name="connsiteY16" fmla="*/ 5291763 h 5475208"/>
              <a:gd name="connsiteX17" fmla="*/ 1662700 w 5501675"/>
              <a:gd name="connsiteY17" fmla="*/ 5446985 h 5475208"/>
              <a:gd name="connsiteX18" fmla="*/ 2283589 w 5501675"/>
              <a:gd name="connsiteY18" fmla="*/ 5475208 h 5475208"/>
              <a:gd name="connsiteX19" fmla="*/ 3017367 w 5501675"/>
              <a:gd name="connsiteY19" fmla="*/ 5446985 h 5475208"/>
              <a:gd name="connsiteX20" fmla="*/ 3398367 w 5501675"/>
              <a:gd name="connsiteY20" fmla="*/ 5235319 h 5475208"/>
              <a:gd name="connsiteX21" fmla="*/ 3525367 w 5501675"/>
              <a:gd name="connsiteY21" fmla="*/ 4981319 h 5475208"/>
              <a:gd name="connsiteX22" fmla="*/ 3595922 w 5501675"/>
              <a:gd name="connsiteY22" fmla="*/ 4473319 h 5475208"/>
              <a:gd name="connsiteX23" fmla="*/ 3666478 w 5501675"/>
              <a:gd name="connsiteY23" fmla="*/ 4318097 h 5475208"/>
              <a:gd name="connsiteX24" fmla="*/ 3737033 w 5501675"/>
              <a:gd name="connsiteY24" fmla="*/ 4191097 h 5475208"/>
              <a:gd name="connsiteX25" fmla="*/ 4061589 w 5501675"/>
              <a:gd name="connsiteY25" fmla="*/ 3951208 h 5475208"/>
              <a:gd name="connsiteX26" fmla="*/ 4287367 w 5501675"/>
              <a:gd name="connsiteY26" fmla="*/ 3824208 h 5475208"/>
              <a:gd name="connsiteX27" fmla="*/ 4513145 w 5501675"/>
              <a:gd name="connsiteY27" fmla="*/ 3697208 h 5475208"/>
              <a:gd name="connsiteX28" fmla="*/ 4710700 w 5501675"/>
              <a:gd name="connsiteY28" fmla="*/ 3584319 h 5475208"/>
              <a:gd name="connsiteX29" fmla="*/ 4865922 w 5501675"/>
              <a:gd name="connsiteY29" fmla="*/ 3485541 h 5475208"/>
              <a:gd name="connsiteX30" fmla="*/ 5232811 w 5501675"/>
              <a:gd name="connsiteY30" fmla="*/ 3302097 h 5475208"/>
              <a:gd name="connsiteX31" fmla="*/ 5345700 w 5501675"/>
              <a:gd name="connsiteY31" fmla="*/ 3104541 h 5475208"/>
              <a:gd name="connsiteX32" fmla="*/ 5416256 w 5501675"/>
              <a:gd name="connsiteY32" fmla="*/ 2667097 h 5475208"/>
              <a:gd name="connsiteX33" fmla="*/ 5500922 w 5501675"/>
              <a:gd name="connsiteY33" fmla="*/ 2243763 h 5475208"/>
              <a:gd name="connsiteX34" fmla="*/ 5458589 w 5501675"/>
              <a:gd name="connsiteY34" fmla="*/ 1636985 h 5475208"/>
              <a:gd name="connsiteX35" fmla="*/ 5472700 w 5501675"/>
              <a:gd name="connsiteY35" fmla="*/ 1114875 h 5475208"/>
              <a:gd name="connsiteX36" fmla="*/ 5416256 w 5501675"/>
              <a:gd name="connsiteY36" fmla="*/ 832652 h 5475208"/>
              <a:gd name="connsiteX37" fmla="*/ 5345701 w 5501675"/>
              <a:gd name="connsiteY37" fmla="*/ 493985 h 5475208"/>
              <a:gd name="connsiteX38" fmla="*/ 5204588 w 5501675"/>
              <a:gd name="connsiteY38" fmla="*/ 239986 h 5475208"/>
              <a:gd name="connsiteX39" fmla="*/ 4696588 w 5501675"/>
              <a:gd name="connsiteY39" fmla="*/ 14207 h 5475208"/>
              <a:gd name="connsiteX40" fmla="*/ 4160367 w 5501675"/>
              <a:gd name="connsiteY40" fmla="*/ 42430 h 5475208"/>
              <a:gd name="connsiteX41" fmla="*/ 3751145 w 5501675"/>
              <a:gd name="connsiteY41" fmla="*/ 197652 h 5475208"/>
              <a:gd name="connsiteX42" fmla="*/ 3468922 w 5501675"/>
              <a:gd name="connsiteY42" fmla="*/ 381097 h 5475208"/>
              <a:gd name="connsiteX43" fmla="*/ 3313700 w 5501675"/>
              <a:gd name="connsiteY43" fmla="*/ 620985 h 5475208"/>
              <a:gd name="connsiteX0" fmla="*/ 3313700 w 5501675"/>
              <a:gd name="connsiteY0" fmla="*/ 620985 h 5475208"/>
              <a:gd name="connsiteX1" fmla="*/ 3200811 w 5501675"/>
              <a:gd name="connsiteY1" fmla="*/ 1100764 h 5475208"/>
              <a:gd name="connsiteX2" fmla="*/ 3116145 w 5501675"/>
              <a:gd name="connsiteY2" fmla="*/ 1749874 h 5475208"/>
              <a:gd name="connsiteX3" fmla="*/ 3031478 w 5501675"/>
              <a:gd name="connsiteY3" fmla="*/ 2144986 h 5475208"/>
              <a:gd name="connsiteX4" fmla="*/ 2848033 w 5501675"/>
              <a:gd name="connsiteY4" fmla="*/ 2525985 h 5475208"/>
              <a:gd name="connsiteX5" fmla="*/ 2325922 w 5501675"/>
              <a:gd name="connsiteY5" fmla="*/ 2963430 h 5475208"/>
              <a:gd name="connsiteX6" fmla="*/ 2029589 w 5501675"/>
              <a:gd name="connsiteY6" fmla="*/ 3062208 h 5475208"/>
              <a:gd name="connsiteX7" fmla="*/ 1719145 w 5501675"/>
              <a:gd name="connsiteY7" fmla="*/ 3104541 h 5475208"/>
              <a:gd name="connsiteX8" fmla="*/ 1281700 w 5501675"/>
              <a:gd name="connsiteY8" fmla="*/ 3146874 h 5475208"/>
              <a:gd name="connsiteX9" fmla="*/ 1013589 w 5501675"/>
              <a:gd name="connsiteY9" fmla="*/ 3189208 h 5475208"/>
              <a:gd name="connsiteX10" fmla="*/ 646700 w 5501675"/>
              <a:gd name="connsiteY10" fmla="*/ 3302097 h 5475208"/>
              <a:gd name="connsiteX11" fmla="*/ 336256 w 5501675"/>
              <a:gd name="connsiteY11" fmla="*/ 3499652 h 5475208"/>
              <a:gd name="connsiteX12" fmla="*/ 166922 w 5501675"/>
              <a:gd name="connsiteY12" fmla="*/ 3711319 h 5475208"/>
              <a:gd name="connsiteX13" fmla="*/ 11700 w 5501675"/>
              <a:gd name="connsiteY13" fmla="*/ 4078208 h 5475208"/>
              <a:gd name="connsiteX14" fmla="*/ 68145 w 5501675"/>
              <a:gd name="connsiteY14" fmla="*/ 4572097 h 5475208"/>
              <a:gd name="connsiteX15" fmla="*/ 519700 w 5501675"/>
              <a:gd name="connsiteY15" fmla="*/ 4967208 h 5475208"/>
              <a:gd name="connsiteX16" fmla="*/ 1070034 w 5501675"/>
              <a:gd name="connsiteY16" fmla="*/ 5291763 h 5475208"/>
              <a:gd name="connsiteX17" fmla="*/ 1662700 w 5501675"/>
              <a:gd name="connsiteY17" fmla="*/ 5446985 h 5475208"/>
              <a:gd name="connsiteX18" fmla="*/ 2283589 w 5501675"/>
              <a:gd name="connsiteY18" fmla="*/ 5475208 h 5475208"/>
              <a:gd name="connsiteX19" fmla="*/ 3017367 w 5501675"/>
              <a:gd name="connsiteY19" fmla="*/ 5446985 h 5475208"/>
              <a:gd name="connsiteX20" fmla="*/ 3398367 w 5501675"/>
              <a:gd name="connsiteY20" fmla="*/ 5235319 h 5475208"/>
              <a:gd name="connsiteX21" fmla="*/ 3525367 w 5501675"/>
              <a:gd name="connsiteY21" fmla="*/ 4981319 h 5475208"/>
              <a:gd name="connsiteX22" fmla="*/ 3595922 w 5501675"/>
              <a:gd name="connsiteY22" fmla="*/ 4473319 h 5475208"/>
              <a:gd name="connsiteX23" fmla="*/ 3666478 w 5501675"/>
              <a:gd name="connsiteY23" fmla="*/ 4318097 h 5475208"/>
              <a:gd name="connsiteX24" fmla="*/ 3737033 w 5501675"/>
              <a:gd name="connsiteY24" fmla="*/ 4191097 h 5475208"/>
              <a:gd name="connsiteX25" fmla="*/ 4061589 w 5501675"/>
              <a:gd name="connsiteY25" fmla="*/ 3951208 h 5475208"/>
              <a:gd name="connsiteX26" fmla="*/ 4287367 w 5501675"/>
              <a:gd name="connsiteY26" fmla="*/ 3824208 h 5475208"/>
              <a:gd name="connsiteX27" fmla="*/ 4513145 w 5501675"/>
              <a:gd name="connsiteY27" fmla="*/ 3697208 h 5475208"/>
              <a:gd name="connsiteX28" fmla="*/ 4710700 w 5501675"/>
              <a:gd name="connsiteY28" fmla="*/ 3584319 h 5475208"/>
              <a:gd name="connsiteX29" fmla="*/ 4865922 w 5501675"/>
              <a:gd name="connsiteY29" fmla="*/ 3485541 h 5475208"/>
              <a:gd name="connsiteX30" fmla="*/ 5232811 w 5501675"/>
              <a:gd name="connsiteY30" fmla="*/ 3302097 h 5475208"/>
              <a:gd name="connsiteX31" fmla="*/ 5345700 w 5501675"/>
              <a:gd name="connsiteY31" fmla="*/ 3104541 h 5475208"/>
              <a:gd name="connsiteX32" fmla="*/ 5416256 w 5501675"/>
              <a:gd name="connsiteY32" fmla="*/ 2667097 h 5475208"/>
              <a:gd name="connsiteX33" fmla="*/ 5500922 w 5501675"/>
              <a:gd name="connsiteY33" fmla="*/ 2243763 h 5475208"/>
              <a:gd name="connsiteX34" fmla="*/ 5458589 w 5501675"/>
              <a:gd name="connsiteY34" fmla="*/ 1636985 h 5475208"/>
              <a:gd name="connsiteX35" fmla="*/ 5472700 w 5501675"/>
              <a:gd name="connsiteY35" fmla="*/ 1114875 h 5475208"/>
              <a:gd name="connsiteX36" fmla="*/ 5416256 w 5501675"/>
              <a:gd name="connsiteY36" fmla="*/ 832652 h 5475208"/>
              <a:gd name="connsiteX37" fmla="*/ 5345701 w 5501675"/>
              <a:gd name="connsiteY37" fmla="*/ 493985 h 5475208"/>
              <a:gd name="connsiteX38" fmla="*/ 5204588 w 5501675"/>
              <a:gd name="connsiteY38" fmla="*/ 239986 h 5475208"/>
              <a:gd name="connsiteX39" fmla="*/ 4696588 w 5501675"/>
              <a:gd name="connsiteY39" fmla="*/ 14207 h 5475208"/>
              <a:gd name="connsiteX40" fmla="*/ 4160367 w 5501675"/>
              <a:gd name="connsiteY40" fmla="*/ 42430 h 5475208"/>
              <a:gd name="connsiteX41" fmla="*/ 3751145 w 5501675"/>
              <a:gd name="connsiteY41" fmla="*/ 197652 h 5475208"/>
              <a:gd name="connsiteX42" fmla="*/ 3468922 w 5501675"/>
              <a:gd name="connsiteY42" fmla="*/ 381097 h 5475208"/>
              <a:gd name="connsiteX43" fmla="*/ 3313700 w 5501675"/>
              <a:gd name="connsiteY43" fmla="*/ 620985 h 5475208"/>
              <a:gd name="connsiteX0" fmla="*/ 3313700 w 5501675"/>
              <a:gd name="connsiteY0" fmla="*/ 620985 h 5475208"/>
              <a:gd name="connsiteX1" fmla="*/ 3200811 w 5501675"/>
              <a:gd name="connsiteY1" fmla="*/ 1100764 h 5475208"/>
              <a:gd name="connsiteX2" fmla="*/ 3116145 w 5501675"/>
              <a:gd name="connsiteY2" fmla="*/ 1749874 h 5475208"/>
              <a:gd name="connsiteX3" fmla="*/ 3031478 w 5501675"/>
              <a:gd name="connsiteY3" fmla="*/ 2144986 h 5475208"/>
              <a:gd name="connsiteX4" fmla="*/ 2848033 w 5501675"/>
              <a:gd name="connsiteY4" fmla="*/ 2525985 h 5475208"/>
              <a:gd name="connsiteX5" fmla="*/ 2325922 w 5501675"/>
              <a:gd name="connsiteY5" fmla="*/ 2963430 h 5475208"/>
              <a:gd name="connsiteX6" fmla="*/ 2029589 w 5501675"/>
              <a:gd name="connsiteY6" fmla="*/ 3062208 h 5475208"/>
              <a:gd name="connsiteX7" fmla="*/ 1719145 w 5501675"/>
              <a:gd name="connsiteY7" fmla="*/ 3104541 h 5475208"/>
              <a:gd name="connsiteX8" fmla="*/ 1281700 w 5501675"/>
              <a:gd name="connsiteY8" fmla="*/ 3146874 h 5475208"/>
              <a:gd name="connsiteX9" fmla="*/ 1013589 w 5501675"/>
              <a:gd name="connsiteY9" fmla="*/ 3189208 h 5475208"/>
              <a:gd name="connsiteX10" fmla="*/ 646700 w 5501675"/>
              <a:gd name="connsiteY10" fmla="*/ 3302097 h 5475208"/>
              <a:gd name="connsiteX11" fmla="*/ 336256 w 5501675"/>
              <a:gd name="connsiteY11" fmla="*/ 3499652 h 5475208"/>
              <a:gd name="connsiteX12" fmla="*/ 166922 w 5501675"/>
              <a:gd name="connsiteY12" fmla="*/ 3711319 h 5475208"/>
              <a:gd name="connsiteX13" fmla="*/ 11700 w 5501675"/>
              <a:gd name="connsiteY13" fmla="*/ 4078208 h 5475208"/>
              <a:gd name="connsiteX14" fmla="*/ 68145 w 5501675"/>
              <a:gd name="connsiteY14" fmla="*/ 4572097 h 5475208"/>
              <a:gd name="connsiteX15" fmla="*/ 519700 w 5501675"/>
              <a:gd name="connsiteY15" fmla="*/ 4967208 h 5475208"/>
              <a:gd name="connsiteX16" fmla="*/ 1070034 w 5501675"/>
              <a:gd name="connsiteY16" fmla="*/ 5291763 h 5475208"/>
              <a:gd name="connsiteX17" fmla="*/ 1662700 w 5501675"/>
              <a:gd name="connsiteY17" fmla="*/ 5446985 h 5475208"/>
              <a:gd name="connsiteX18" fmla="*/ 2283589 w 5501675"/>
              <a:gd name="connsiteY18" fmla="*/ 5475208 h 5475208"/>
              <a:gd name="connsiteX19" fmla="*/ 3017367 w 5501675"/>
              <a:gd name="connsiteY19" fmla="*/ 5446985 h 5475208"/>
              <a:gd name="connsiteX20" fmla="*/ 3398367 w 5501675"/>
              <a:gd name="connsiteY20" fmla="*/ 5235319 h 5475208"/>
              <a:gd name="connsiteX21" fmla="*/ 3525367 w 5501675"/>
              <a:gd name="connsiteY21" fmla="*/ 4981319 h 5475208"/>
              <a:gd name="connsiteX22" fmla="*/ 3595922 w 5501675"/>
              <a:gd name="connsiteY22" fmla="*/ 4473319 h 5475208"/>
              <a:gd name="connsiteX23" fmla="*/ 3666478 w 5501675"/>
              <a:gd name="connsiteY23" fmla="*/ 4318097 h 5475208"/>
              <a:gd name="connsiteX24" fmla="*/ 3737033 w 5501675"/>
              <a:gd name="connsiteY24" fmla="*/ 4191097 h 5475208"/>
              <a:gd name="connsiteX25" fmla="*/ 4061589 w 5501675"/>
              <a:gd name="connsiteY25" fmla="*/ 3951208 h 5475208"/>
              <a:gd name="connsiteX26" fmla="*/ 4287367 w 5501675"/>
              <a:gd name="connsiteY26" fmla="*/ 3824208 h 5475208"/>
              <a:gd name="connsiteX27" fmla="*/ 4513145 w 5501675"/>
              <a:gd name="connsiteY27" fmla="*/ 3697208 h 5475208"/>
              <a:gd name="connsiteX28" fmla="*/ 4710700 w 5501675"/>
              <a:gd name="connsiteY28" fmla="*/ 3584319 h 5475208"/>
              <a:gd name="connsiteX29" fmla="*/ 4865922 w 5501675"/>
              <a:gd name="connsiteY29" fmla="*/ 3485541 h 5475208"/>
              <a:gd name="connsiteX30" fmla="*/ 5345700 w 5501675"/>
              <a:gd name="connsiteY30" fmla="*/ 3104541 h 5475208"/>
              <a:gd name="connsiteX31" fmla="*/ 5416256 w 5501675"/>
              <a:gd name="connsiteY31" fmla="*/ 2667097 h 5475208"/>
              <a:gd name="connsiteX32" fmla="*/ 5500922 w 5501675"/>
              <a:gd name="connsiteY32" fmla="*/ 2243763 h 5475208"/>
              <a:gd name="connsiteX33" fmla="*/ 5458589 w 5501675"/>
              <a:gd name="connsiteY33" fmla="*/ 1636985 h 5475208"/>
              <a:gd name="connsiteX34" fmla="*/ 5472700 w 5501675"/>
              <a:gd name="connsiteY34" fmla="*/ 1114875 h 5475208"/>
              <a:gd name="connsiteX35" fmla="*/ 5416256 w 5501675"/>
              <a:gd name="connsiteY35" fmla="*/ 832652 h 5475208"/>
              <a:gd name="connsiteX36" fmla="*/ 5345701 w 5501675"/>
              <a:gd name="connsiteY36" fmla="*/ 493985 h 5475208"/>
              <a:gd name="connsiteX37" fmla="*/ 5204588 w 5501675"/>
              <a:gd name="connsiteY37" fmla="*/ 239986 h 5475208"/>
              <a:gd name="connsiteX38" fmla="*/ 4696588 w 5501675"/>
              <a:gd name="connsiteY38" fmla="*/ 14207 h 5475208"/>
              <a:gd name="connsiteX39" fmla="*/ 4160367 w 5501675"/>
              <a:gd name="connsiteY39" fmla="*/ 42430 h 5475208"/>
              <a:gd name="connsiteX40" fmla="*/ 3751145 w 5501675"/>
              <a:gd name="connsiteY40" fmla="*/ 197652 h 5475208"/>
              <a:gd name="connsiteX41" fmla="*/ 3468922 w 5501675"/>
              <a:gd name="connsiteY41" fmla="*/ 381097 h 5475208"/>
              <a:gd name="connsiteX42" fmla="*/ 3313700 w 5501675"/>
              <a:gd name="connsiteY42" fmla="*/ 620985 h 5475208"/>
              <a:gd name="connsiteX0" fmla="*/ 3313700 w 5501675"/>
              <a:gd name="connsiteY0" fmla="*/ 620985 h 5475208"/>
              <a:gd name="connsiteX1" fmla="*/ 3200811 w 5501675"/>
              <a:gd name="connsiteY1" fmla="*/ 1100764 h 5475208"/>
              <a:gd name="connsiteX2" fmla="*/ 3116145 w 5501675"/>
              <a:gd name="connsiteY2" fmla="*/ 1749874 h 5475208"/>
              <a:gd name="connsiteX3" fmla="*/ 3031478 w 5501675"/>
              <a:gd name="connsiteY3" fmla="*/ 2144986 h 5475208"/>
              <a:gd name="connsiteX4" fmla="*/ 2848033 w 5501675"/>
              <a:gd name="connsiteY4" fmla="*/ 2525985 h 5475208"/>
              <a:gd name="connsiteX5" fmla="*/ 2325922 w 5501675"/>
              <a:gd name="connsiteY5" fmla="*/ 2963430 h 5475208"/>
              <a:gd name="connsiteX6" fmla="*/ 2029589 w 5501675"/>
              <a:gd name="connsiteY6" fmla="*/ 3062208 h 5475208"/>
              <a:gd name="connsiteX7" fmla="*/ 1719145 w 5501675"/>
              <a:gd name="connsiteY7" fmla="*/ 3104541 h 5475208"/>
              <a:gd name="connsiteX8" fmla="*/ 1281700 w 5501675"/>
              <a:gd name="connsiteY8" fmla="*/ 3146874 h 5475208"/>
              <a:gd name="connsiteX9" fmla="*/ 1013589 w 5501675"/>
              <a:gd name="connsiteY9" fmla="*/ 3189208 h 5475208"/>
              <a:gd name="connsiteX10" fmla="*/ 646700 w 5501675"/>
              <a:gd name="connsiteY10" fmla="*/ 3302097 h 5475208"/>
              <a:gd name="connsiteX11" fmla="*/ 336256 w 5501675"/>
              <a:gd name="connsiteY11" fmla="*/ 3499652 h 5475208"/>
              <a:gd name="connsiteX12" fmla="*/ 166922 w 5501675"/>
              <a:gd name="connsiteY12" fmla="*/ 3711319 h 5475208"/>
              <a:gd name="connsiteX13" fmla="*/ 11700 w 5501675"/>
              <a:gd name="connsiteY13" fmla="*/ 4078208 h 5475208"/>
              <a:gd name="connsiteX14" fmla="*/ 68145 w 5501675"/>
              <a:gd name="connsiteY14" fmla="*/ 4572097 h 5475208"/>
              <a:gd name="connsiteX15" fmla="*/ 519700 w 5501675"/>
              <a:gd name="connsiteY15" fmla="*/ 4967208 h 5475208"/>
              <a:gd name="connsiteX16" fmla="*/ 1070034 w 5501675"/>
              <a:gd name="connsiteY16" fmla="*/ 5291763 h 5475208"/>
              <a:gd name="connsiteX17" fmla="*/ 1662700 w 5501675"/>
              <a:gd name="connsiteY17" fmla="*/ 5446985 h 5475208"/>
              <a:gd name="connsiteX18" fmla="*/ 2283589 w 5501675"/>
              <a:gd name="connsiteY18" fmla="*/ 5475208 h 5475208"/>
              <a:gd name="connsiteX19" fmla="*/ 3017367 w 5501675"/>
              <a:gd name="connsiteY19" fmla="*/ 5446985 h 5475208"/>
              <a:gd name="connsiteX20" fmla="*/ 3398367 w 5501675"/>
              <a:gd name="connsiteY20" fmla="*/ 5235319 h 5475208"/>
              <a:gd name="connsiteX21" fmla="*/ 3525367 w 5501675"/>
              <a:gd name="connsiteY21" fmla="*/ 4981319 h 5475208"/>
              <a:gd name="connsiteX22" fmla="*/ 3595922 w 5501675"/>
              <a:gd name="connsiteY22" fmla="*/ 4473319 h 5475208"/>
              <a:gd name="connsiteX23" fmla="*/ 3666478 w 5501675"/>
              <a:gd name="connsiteY23" fmla="*/ 4318097 h 5475208"/>
              <a:gd name="connsiteX24" fmla="*/ 3737033 w 5501675"/>
              <a:gd name="connsiteY24" fmla="*/ 4191097 h 5475208"/>
              <a:gd name="connsiteX25" fmla="*/ 4061589 w 5501675"/>
              <a:gd name="connsiteY25" fmla="*/ 3951208 h 5475208"/>
              <a:gd name="connsiteX26" fmla="*/ 4287367 w 5501675"/>
              <a:gd name="connsiteY26" fmla="*/ 3824208 h 5475208"/>
              <a:gd name="connsiteX27" fmla="*/ 4513145 w 5501675"/>
              <a:gd name="connsiteY27" fmla="*/ 3697208 h 5475208"/>
              <a:gd name="connsiteX28" fmla="*/ 4710700 w 5501675"/>
              <a:gd name="connsiteY28" fmla="*/ 3584319 h 5475208"/>
              <a:gd name="connsiteX29" fmla="*/ 4865922 w 5501675"/>
              <a:gd name="connsiteY29" fmla="*/ 3485541 h 5475208"/>
              <a:gd name="connsiteX30" fmla="*/ 5345700 w 5501675"/>
              <a:gd name="connsiteY30" fmla="*/ 3104541 h 5475208"/>
              <a:gd name="connsiteX31" fmla="*/ 5416256 w 5501675"/>
              <a:gd name="connsiteY31" fmla="*/ 2667097 h 5475208"/>
              <a:gd name="connsiteX32" fmla="*/ 5500922 w 5501675"/>
              <a:gd name="connsiteY32" fmla="*/ 2243763 h 5475208"/>
              <a:gd name="connsiteX33" fmla="*/ 5458589 w 5501675"/>
              <a:gd name="connsiteY33" fmla="*/ 1636985 h 5475208"/>
              <a:gd name="connsiteX34" fmla="*/ 5472700 w 5501675"/>
              <a:gd name="connsiteY34" fmla="*/ 1114875 h 5475208"/>
              <a:gd name="connsiteX35" fmla="*/ 5416256 w 5501675"/>
              <a:gd name="connsiteY35" fmla="*/ 832652 h 5475208"/>
              <a:gd name="connsiteX36" fmla="*/ 5345701 w 5501675"/>
              <a:gd name="connsiteY36" fmla="*/ 493985 h 5475208"/>
              <a:gd name="connsiteX37" fmla="*/ 5204588 w 5501675"/>
              <a:gd name="connsiteY37" fmla="*/ 239986 h 5475208"/>
              <a:gd name="connsiteX38" fmla="*/ 4696588 w 5501675"/>
              <a:gd name="connsiteY38" fmla="*/ 14207 h 5475208"/>
              <a:gd name="connsiteX39" fmla="*/ 4160367 w 5501675"/>
              <a:gd name="connsiteY39" fmla="*/ 42430 h 5475208"/>
              <a:gd name="connsiteX40" fmla="*/ 3751145 w 5501675"/>
              <a:gd name="connsiteY40" fmla="*/ 197652 h 5475208"/>
              <a:gd name="connsiteX41" fmla="*/ 3468922 w 5501675"/>
              <a:gd name="connsiteY41" fmla="*/ 381097 h 5475208"/>
              <a:gd name="connsiteX42" fmla="*/ 3313700 w 5501675"/>
              <a:gd name="connsiteY42" fmla="*/ 620985 h 5475208"/>
              <a:gd name="connsiteX0" fmla="*/ 3313700 w 5504748"/>
              <a:gd name="connsiteY0" fmla="*/ 620985 h 5475208"/>
              <a:gd name="connsiteX1" fmla="*/ 3200811 w 5504748"/>
              <a:gd name="connsiteY1" fmla="*/ 1100764 h 5475208"/>
              <a:gd name="connsiteX2" fmla="*/ 3116145 w 5504748"/>
              <a:gd name="connsiteY2" fmla="*/ 1749874 h 5475208"/>
              <a:gd name="connsiteX3" fmla="*/ 3031478 w 5504748"/>
              <a:gd name="connsiteY3" fmla="*/ 2144986 h 5475208"/>
              <a:gd name="connsiteX4" fmla="*/ 2848033 w 5504748"/>
              <a:gd name="connsiteY4" fmla="*/ 2525985 h 5475208"/>
              <a:gd name="connsiteX5" fmla="*/ 2325922 w 5504748"/>
              <a:gd name="connsiteY5" fmla="*/ 2963430 h 5475208"/>
              <a:gd name="connsiteX6" fmla="*/ 2029589 w 5504748"/>
              <a:gd name="connsiteY6" fmla="*/ 3062208 h 5475208"/>
              <a:gd name="connsiteX7" fmla="*/ 1719145 w 5504748"/>
              <a:gd name="connsiteY7" fmla="*/ 3104541 h 5475208"/>
              <a:gd name="connsiteX8" fmla="*/ 1281700 w 5504748"/>
              <a:gd name="connsiteY8" fmla="*/ 3146874 h 5475208"/>
              <a:gd name="connsiteX9" fmla="*/ 1013589 w 5504748"/>
              <a:gd name="connsiteY9" fmla="*/ 3189208 h 5475208"/>
              <a:gd name="connsiteX10" fmla="*/ 646700 w 5504748"/>
              <a:gd name="connsiteY10" fmla="*/ 3302097 h 5475208"/>
              <a:gd name="connsiteX11" fmla="*/ 336256 w 5504748"/>
              <a:gd name="connsiteY11" fmla="*/ 3499652 h 5475208"/>
              <a:gd name="connsiteX12" fmla="*/ 166922 w 5504748"/>
              <a:gd name="connsiteY12" fmla="*/ 3711319 h 5475208"/>
              <a:gd name="connsiteX13" fmla="*/ 11700 w 5504748"/>
              <a:gd name="connsiteY13" fmla="*/ 4078208 h 5475208"/>
              <a:gd name="connsiteX14" fmla="*/ 68145 w 5504748"/>
              <a:gd name="connsiteY14" fmla="*/ 4572097 h 5475208"/>
              <a:gd name="connsiteX15" fmla="*/ 519700 w 5504748"/>
              <a:gd name="connsiteY15" fmla="*/ 4967208 h 5475208"/>
              <a:gd name="connsiteX16" fmla="*/ 1070034 w 5504748"/>
              <a:gd name="connsiteY16" fmla="*/ 5291763 h 5475208"/>
              <a:gd name="connsiteX17" fmla="*/ 1662700 w 5504748"/>
              <a:gd name="connsiteY17" fmla="*/ 5446985 h 5475208"/>
              <a:gd name="connsiteX18" fmla="*/ 2283589 w 5504748"/>
              <a:gd name="connsiteY18" fmla="*/ 5475208 h 5475208"/>
              <a:gd name="connsiteX19" fmla="*/ 3017367 w 5504748"/>
              <a:gd name="connsiteY19" fmla="*/ 5446985 h 5475208"/>
              <a:gd name="connsiteX20" fmla="*/ 3398367 w 5504748"/>
              <a:gd name="connsiteY20" fmla="*/ 5235319 h 5475208"/>
              <a:gd name="connsiteX21" fmla="*/ 3525367 w 5504748"/>
              <a:gd name="connsiteY21" fmla="*/ 4981319 h 5475208"/>
              <a:gd name="connsiteX22" fmla="*/ 3595922 w 5504748"/>
              <a:gd name="connsiteY22" fmla="*/ 4473319 h 5475208"/>
              <a:gd name="connsiteX23" fmla="*/ 3666478 w 5504748"/>
              <a:gd name="connsiteY23" fmla="*/ 4318097 h 5475208"/>
              <a:gd name="connsiteX24" fmla="*/ 3737033 w 5504748"/>
              <a:gd name="connsiteY24" fmla="*/ 4191097 h 5475208"/>
              <a:gd name="connsiteX25" fmla="*/ 4061589 w 5504748"/>
              <a:gd name="connsiteY25" fmla="*/ 3951208 h 5475208"/>
              <a:gd name="connsiteX26" fmla="*/ 4287367 w 5504748"/>
              <a:gd name="connsiteY26" fmla="*/ 3824208 h 5475208"/>
              <a:gd name="connsiteX27" fmla="*/ 4513145 w 5504748"/>
              <a:gd name="connsiteY27" fmla="*/ 3697208 h 5475208"/>
              <a:gd name="connsiteX28" fmla="*/ 4710700 w 5504748"/>
              <a:gd name="connsiteY28" fmla="*/ 3584319 h 5475208"/>
              <a:gd name="connsiteX29" fmla="*/ 4865922 w 5504748"/>
              <a:gd name="connsiteY29" fmla="*/ 3485541 h 5475208"/>
              <a:gd name="connsiteX30" fmla="*/ 5345700 w 5504748"/>
              <a:gd name="connsiteY30" fmla="*/ 3104541 h 5475208"/>
              <a:gd name="connsiteX31" fmla="*/ 5500922 w 5504748"/>
              <a:gd name="connsiteY31" fmla="*/ 2243763 h 5475208"/>
              <a:gd name="connsiteX32" fmla="*/ 5458589 w 5504748"/>
              <a:gd name="connsiteY32" fmla="*/ 1636985 h 5475208"/>
              <a:gd name="connsiteX33" fmla="*/ 5472700 w 5504748"/>
              <a:gd name="connsiteY33" fmla="*/ 1114875 h 5475208"/>
              <a:gd name="connsiteX34" fmla="*/ 5416256 w 5504748"/>
              <a:gd name="connsiteY34" fmla="*/ 832652 h 5475208"/>
              <a:gd name="connsiteX35" fmla="*/ 5345701 w 5504748"/>
              <a:gd name="connsiteY35" fmla="*/ 493985 h 5475208"/>
              <a:gd name="connsiteX36" fmla="*/ 5204588 w 5504748"/>
              <a:gd name="connsiteY36" fmla="*/ 239986 h 5475208"/>
              <a:gd name="connsiteX37" fmla="*/ 4696588 w 5504748"/>
              <a:gd name="connsiteY37" fmla="*/ 14207 h 5475208"/>
              <a:gd name="connsiteX38" fmla="*/ 4160367 w 5504748"/>
              <a:gd name="connsiteY38" fmla="*/ 42430 h 5475208"/>
              <a:gd name="connsiteX39" fmla="*/ 3751145 w 5504748"/>
              <a:gd name="connsiteY39" fmla="*/ 197652 h 5475208"/>
              <a:gd name="connsiteX40" fmla="*/ 3468922 w 5504748"/>
              <a:gd name="connsiteY40" fmla="*/ 381097 h 5475208"/>
              <a:gd name="connsiteX41" fmla="*/ 3313700 w 5504748"/>
              <a:gd name="connsiteY41" fmla="*/ 620985 h 5475208"/>
              <a:gd name="connsiteX0" fmla="*/ 3313700 w 5508778"/>
              <a:gd name="connsiteY0" fmla="*/ 620985 h 5475208"/>
              <a:gd name="connsiteX1" fmla="*/ 3200811 w 5508778"/>
              <a:gd name="connsiteY1" fmla="*/ 1100764 h 5475208"/>
              <a:gd name="connsiteX2" fmla="*/ 3116145 w 5508778"/>
              <a:gd name="connsiteY2" fmla="*/ 1749874 h 5475208"/>
              <a:gd name="connsiteX3" fmla="*/ 3031478 w 5508778"/>
              <a:gd name="connsiteY3" fmla="*/ 2144986 h 5475208"/>
              <a:gd name="connsiteX4" fmla="*/ 2848033 w 5508778"/>
              <a:gd name="connsiteY4" fmla="*/ 2525985 h 5475208"/>
              <a:gd name="connsiteX5" fmla="*/ 2325922 w 5508778"/>
              <a:gd name="connsiteY5" fmla="*/ 2963430 h 5475208"/>
              <a:gd name="connsiteX6" fmla="*/ 2029589 w 5508778"/>
              <a:gd name="connsiteY6" fmla="*/ 3062208 h 5475208"/>
              <a:gd name="connsiteX7" fmla="*/ 1719145 w 5508778"/>
              <a:gd name="connsiteY7" fmla="*/ 3104541 h 5475208"/>
              <a:gd name="connsiteX8" fmla="*/ 1281700 w 5508778"/>
              <a:gd name="connsiteY8" fmla="*/ 3146874 h 5475208"/>
              <a:gd name="connsiteX9" fmla="*/ 1013589 w 5508778"/>
              <a:gd name="connsiteY9" fmla="*/ 3189208 h 5475208"/>
              <a:gd name="connsiteX10" fmla="*/ 646700 w 5508778"/>
              <a:gd name="connsiteY10" fmla="*/ 3302097 h 5475208"/>
              <a:gd name="connsiteX11" fmla="*/ 336256 w 5508778"/>
              <a:gd name="connsiteY11" fmla="*/ 3499652 h 5475208"/>
              <a:gd name="connsiteX12" fmla="*/ 166922 w 5508778"/>
              <a:gd name="connsiteY12" fmla="*/ 3711319 h 5475208"/>
              <a:gd name="connsiteX13" fmla="*/ 11700 w 5508778"/>
              <a:gd name="connsiteY13" fmla="*/ 4078208 h 5475208"/>
              <a:gd name="connsiteX14" fmla="*/ 68145 w 5508778"/>
              <a:gd name="connsiteY14" fmla="*/ 4572097 h 5475208"/>
              <a:gd name="connsiteX15" fmla="*/ 519700 w 5508778"/>
              <a:gd name="connsiteY15" fmla="*/ 4967208 h 5475208"/>
              <a:gd name="connsiteX16" fmla="*/ 1070034 w 5508778"/>
              <a:gd name="connsiteY16" fmla="*/ 5291763 h 5475208"/>
              <a:gd name="connsiteX17" fmla="*/ 1662700 w 5508778"/>
              <a:gd name="connsiteY17" fmla="*/ 5446985 h 5475208"/>
              <a:gd name="connsiteX18" fmla="*/ 2283589 w 5508778"/>
              <a:gd name="connsiteY18" fmla="*/ 5475208 h 5475208"/>
              <a:gd name="connsiteX19" fmla="*/ 3017367 w 5508778"/>
              <a:gd name="connsiteY19" fmla="*/ 5446985 h 5475208"/>
              <a:gd name="connsiteX20" fmla="*/ 3398367 w 5508778"/>
              <a:gd name="connsiteY20" fmla="*/ 5235319 h 5475208"/>
              <a:gd name="connsiteX21" fmla="*/ 3525367 w 5508778"/>
              <a:gd name="connsiteY21" fmla="*/ 4981319 h 5475208"/>
              <a:gd name="connsiteX22" fmla="*/ 3595922 w 5508778"/>
              <a:gd name="connsiteY22" fmla="*/ 4473319 h 5475208"/>
              <a:gd name="connsiteX23" fmla="*/ 3666478 w 5508778"/>
              <a:gd name="connsiteY23" fmla="*/ 4318097 h 5475208"/>
              <a:gd name="connsiteX24" fmla="*/ 3737033 w 5508778"/>
              <a:gd name="connsiteY24" fmla="*/ 4191097 h 5475208"/>
              <a:gd name="connsiteX25" fmla="*/ 4061589 w 5508778"/>
              <a:gd name="connsiteY25" fmla="*/ 3951208 h 5475208"/>
              <a:gd name="connsiteX26" fmla="*/ 4287367 w 5508778"/>
              <a:gd name="connsiteY26" fmla="*/ 3824208 h 5475208"/>
              <a:gd name="connsiteX27" fmla="*/ 4513145 w 5508778"/>
              <a:gd name="connsiteY27" fmla="*/ 3697208 h 5475208"/>
              <a:gd name="connsiteX28" fmla="*/ 4710700 w 5508778"/>
              <a:gd name="connsiteY28" fmla="*/ 3584319 h 5475208"/>
              <a:gd name="connsiteX29" fmla="*/ 4865922 w 5508778"/>
              <a:gd name="connsiteY29" fmla="*/ 3485541 h 5475208"/>
              <a:gd name="connsiteX30" fmla="*/ 5275145 w 5508778"/>
              <a:gd name="connsiteY30" fmla="*/ 3104541 h 5475208"/>
              <a:gd name="connsiteX31" fmla="*/ 5500922 w 5508778"/>
              <a:gd name="connsiteY31" fmla="*/ 2243763 h 5475208"/>
              <a:gd name="connsiteX32" fmla="*/ 5458589 w 5508778"/>
              <a:gd name="connsiteY32" fmla="*/ 1636985 h 5475208"/>
              <a:gd name="connsiteX33" fmla="*/ 5472700 w 5508778"/>
              <a:gd name="connsiteY33" fmla="*/ 1114875 h 5475208"/>
              <a:gd name="connsiteX34" fmla="*/ 5416256 w 5508778"/>
              <a:gd name="connsiteY34" fmla="*/ 832652 h 5475208"/>
              <a:gd name="connsiteX35" fmla="*/ 5345701 w 5508778"/>
              <a:gd name="connsiteY35" fmla="*/ 493985 h 5475208"/>
              <a:gd name="connsiteX36" fmla="*/ 5204588 w 5508778"/>
              <a:gd name="connsiteY36" fmla="*/ 239986 h 5475208"/>
              <a:gd name="connsiteX37" fmla="*/ 4696588 w 5508778"/>
              <a:gd name="connsiteY37" fmla="*/ 14207 h 5475208"/>
              <a:gd name="connsiteX38" fmla="*/ 4160367 w 5508778"/>
              <a:gd name="connsiteY38" fmla="*/ 42430 h 5475208"/>
              <a:gd name="connsiteX39" fmla="*/ 3751145 w 5508778"/>
              <a:gd name="connsiteY39" fmla="*/ 197652 h 5475208"/>
              <a:gd name="connsiteX40" fmla="*/ 3468922 w 5508778"/>
              <a:gd name="connsiteY40" fmla="*/ 381097 h 5475208"/>
              <a:gd name="connsiteX41" fmla="*/ 3313700 w 5508778"/>
              <a:gd name="connsiteY41" fmla="*/ 620985 h 5475208"/>
              <a:gd name="connsiteX0" fmla="*/ 3313700 w 5518742"/>
              <a:gd name="connsiteY0" fmla="*/ 620985 h 5475208"/>
              <a:gd name="connsiteX1" fmla="*/ 3200811 w 5518742"/>
              <a:gd name="connsiteY1" fmla="*/ 1100764 h 5475208"/>
              <a:gd name="connsiteX2" fmla="*/ 3116145 w 5518742"/>
              <a:gd name="connsiteY2" fmla="*/ 1749874 h 5475208"/>
              <a:gd name="connsiteX3" fmla="*/ 3031478 w 5518742"/>
              <a:gd name="connsiteY3" fmla="*/ 2144986 h 5475208"/>
              <a:gd name="connsiteX4" fmla="*/ 2848033 w 5518742"/>
              <a:gd name="connsiteY4" fmla="*/ 2525985 h 5475208"/>
              <a:gd name="connsiteX5" fmla="*/ 2325922 w 5518742"/>
              <a:gd name="connsiteY5" fmla="*/ 2963430 h 5475208"/>
              <a:gd name="connsiteX6" fmla="*/ 2029589 w 5518742"/>
              <a:gd name="connsiteY6" fmla="*/ 3062208 h 5475208"/>
              <a:gd name="connsiteX7" fmla="*/ 1719145 w 5518742"/>
              <a:gd name="connsiteY7" fmla="*/ 3104541 h 5475208"/>
              <a:gd name="connsiteX8" fmla="*/ 1281700 w 5518742"/>
              <a:gd name="connsiteY8" fmla="*/ 3146874 h 5475208"/>
              <a:gd name="connsiteX9" fmla="*/ 1013589 w 5518742"/>
              <a:gd name="connsiteY9" fmla="*/ 3189208 h 5475208"/>
              <a:gd name="connsiteX10" fmla="*/ 646700 w 5518742"/>
              <a:gd name="connsiteY10" fmla="*/ 3302097 h 5475208"/>
              <a:gd name="connsiteX11" fmla="*/ 336256 w 5518742"/>
              <a:gd name="connsiteY11" fmla="*/ 3499652 h 5475208"/>
              <a:gd name="connsiteX12" fmla="*/ 166922 w 5518742"/>
              <a:gd name="connsiteY12" fmla="*/ 3711319 h 5475208"/>
              <a:gd name="connsiteX13" fmla="*/ 11700 w 5518742"/>
              <a:gd name="connsiteY13" fmla="*/ 4078208 h 5475208"/>
              <a:gd name="connsiteX14" fmla="*/ 68145 w 5518742"/>
              <a:gd name="connsiteY14" fmla="*/ 4572097 h 5475208"/>
              <a:gd name="connsiteX15" fmla="*/ 519700 w 5518742"/>
              <a:gd name="connsiteY15" fmla="*/ 4967208 h 5475208"/>
              <a:gd name="connsiteX16" fmla="*/ 1070034 w 5518742"/>
              <a:gd name="connsiteY16" fmla="*/ 5291763 h 5475208"/>
              <a:gd name="connsiteX17" fmla="*/ 1662700 w 5518742"/>
              <a:gd name="connsiteY17" fmla="*/ 5446985 h 5475208"/>
              <a:gd name="connsiteX18" fmla="*/ 2283589 w 5518742"/>
              <a:gd name="connsiteY18" fmla="*/ 5475208 h 5475208"/>
              <a:gd name="connsiteX19" fmla="*/ 3017367 w 5518742"/>
              <a:gd name="connsiteY19" fmla="*/ 5446985 h 5475208"/>
              <a:gd name="connsiteX20" fmla="*/ 3398367 w 5518742"/>
              <a:gd name="connsiteY20" fmla="*/ 5235319 h 5475208"/>
              <a:gd name="connsiteX21" fmla="*/ 3525367 w 5518742"/>
              <a:gd name="connsiteY21" fmla="*/ 4981319 h 5475208"/>
              <a:gd name="connsiteX22" fmla="*/ 3595922 w 5518742"/>
              <a:gd name="connsiteY22" fmla="*/ 4473319 h 5475208"/>
              <a:gd name="connsiteX23" fmla="*/ 3666478 w 5518742"/>
              <a:gd name="connsiteY23" fmla="*/ 4318097 h 5475208"/>
              <a:gd name="connsiteX24" fmla="*/ 3737033 w 5518742"/>
              <a:gd name="connsiteY24" fmla="*/ 4191097 h 5475208"/>
              <a:gd name="connsiteX25" fmla="*/ 4061589 w 5518742"/>
              <a:gd name="connsiteY25" fmla="*/ 3951208 h 5475208"/>
              <a:gd name="connsiteX26" fmla="*/ 4287367 w 5518742"/>
              <a:gd name="connsiteY26" fmla="*/ 3824208 h 5475208"/>
              <a:gd name="connsiteX27" fmla="*/ 4513145 w 5518742"/>
              <a:gd name="connsiteY27" fmla="*/ 3697208 h 5475208"/>
              <a:gd name="connsiteX28" fmla="*/ 4710700 w 5518742"/>
              <a:gd name="connsiteY28" fmla="*/ 3584319 h 5475208"/>
              <a:gd name="connsiteX29" fmla="*/ 4865922 w 5518742"/>
              <a:gd name="connsiteY29" fmla="*/ 3485541 h 5475208"/>
              <a:gd name="connsiteX30" fmla="*/ 5275145 w 5518742"/>
              <a:gd name="connsiteY30" fmla="*/ 3104541 h 5475208"/>
              <a:gd name="connsiteX31" fmla="*/ 5500922 w 5518742"/>
              <a:gd name="connsiteY31" fmla="*/ 2243763 h 5475208"/>
              <a:gd name="connsiteX32" fmla="*/ 5500923 w 5518742"/>
              <a:gd name="connsiteY32" fmla="*/ 1580540 h 5475208"/>
              <a:gd name="connsiteX33" fmla="*/ 5472700 w 5518742"/>
              <a:gd name="connsiteY33" fmla="*/ 1114875 h 5475208"/>
              <a:gd name="connsiteX34" fmla="*/ 5416256 w 5518742"/>
              <a:gd name="connsiteY34" fmla="*/ 832652 h 5475208"/>
              <a:gd name="connsiteX35" fmla="*/ 5345701 w 5518742"/>
              <a:gd name="connsiteY35" fmla="*/ 493985 h 5475208"/>
              <a:gd name="connsiteX36" fmla="*/ 5204588 w 5518742"/>
              <a:gd name="connsiteY36" fmla="*/ 239986 h 5475208"/>
              <a:gd name="connsiteX37" fmla="*/ 4696588 w 5518742"/>
              <a:gd name="connsiteY37" fmla="*/ 14207 h 5475208"/>
              <a:gd name="connsiteX38" fmla="*/ 4160367 w 5518742"/>
              <a:gd name="connsiteY38" fmla="*/ 42430 h 5475208"/>
              <a:gd name="connsiteX39" fmla="*/ 3751145 w 5518742"/>
              <a:gd name="connsiteY39" fmla="*/ 197652 h 5475208"/>
              <a:gd name="connsiteX40" fmla="*/ 3468922 w 5518742"/>
              <a:gd name="connsiteY40" fmla="*/ 381097 h 5475208"/>
              <a:gd name="connsiteX41" fmla="*/ 3313700 w 5518742"/>
              <a:gd name="connsiteY41" fmla="*/ 620985 h 5475208"/>
              <a:gd name="connsiteX0" fmla="*/ 3313700 w 5518742"/>
              <a:gd name="connsiteY0" fmla="*/ 620985 h 5475208"/>
              <a:gd name="connsiteX1" fmla="*/ 3200811 w 5518742"/>
              <a:gd name="connsiteY1" fmla="*/ 1100764 h 5475208"/>
              <a:gd name="connsiteX2" fmla="*/ 3116145 w 5518742"/>
              <a:gd name="connsiteY2" fmla="*/ 1749874 h 5475208"/>
              <a:gd name="connsiteX3" fmla="*/ 3031478 w 5518742"/>
              <a:gd name="connsiteY3" fmla="*/ 2144986 h 5475208"/>
              <a:gd name="connsiteX4" fmla="*/ 2848033 w 5518742"/>
              <a:gd name="connsiteY4" fmla="*/ 2525985 h 5475208"/>
              <a:gd name="connsiteX5" fmla="*/ 2325922 w 5518742"/>
              <a:gd name="connsiteY5" fmla="*/ 2963430 h 5475208"/>
              <a:gd name="connsiteX6" fmla="*/ 2029589 w 5518742"/>
              <a:gd name="connsiteY6" fmla="*/ 3062208 h 5475208"/>
              <a:gd name="connsiteX7" fmla="*/ 1719145 w 5518742"/>
              <a:gd name="connsiteY7" fmla="*/ 3104541 h 5475208"/>
              <a:gd name="connsiteX8" fmla="*/ 1281700 w 5518742"/>
              <a:gd name="connsiteY8" fmla="*/ 3146874 h 5475208"/>
              <a:gd name="connsiteX9" fmla="*/ 1013589 w 5518742"/>
              <a:gd name="connsiteY9" fmla="*/ 3189208 h 5475208"/>
              <a:gd name="connsiteX10" fmla="*/ 646700 w 5518742"/>
              <a:gd name="connsiteY10" fmla="*/ 3302097 h 5475208"/>
              <a:gd name="connsiteX11" fmla="*/ 336256 w 5518742"/>
              <a:gd name="connsiteY11" fmla="*/ 3499652 h 5475208"/>
              <a:gd name="connsiteX12" fmla="*/ 166922 w 5518742"/>
              <a:gd name="connsiteY12" fmla="*/ 3711319 h 5475208"/>
              <a:gd name="connsiteX13" fmla="*/ 11700 w 5518742"/>
              <a:gd name="connsiteY13" fmla="*/ 4078208 h 5475208"/>
              <a:gd name="connsiteX14" fmla="*/ 68145 w 5518742"/>
              <a:gd name="connsiteY14" fmla="*/ 4572097 h 5475208"/>
              <a:gd name="connsiteX15" fmla="*/ 519700 w 5518742"/>
              <a:gd name="connsiteY15" fmla="*/ 4967208 h 5475208"/>
              <a:gd name="connsiteX16" fmla="*/ 1070034 w 5518742"/>
              <a:gd name="connsiteY16" fmla="*/ 5291763 h 5475208"/>
              <a:gd name="connsiteX17" fmla="*/ 1662700 w 5518742"/>
              <a:gd name="connsiteY17" fmla="*/ 5446985 h 5475208"/>
              <a:gd name="connsiteX18" fmla="*/ 2283589 w 5518742"/>
              <a:gd name="connsiteY18" fmla="*/ 5475208 h 5475208"/>
              <a:gd name="connsiteX19" fmla="*/ 2975034 w 5518742"/>
              <a:gd name="connsiteY19" fmla="*/ 5178873 h 5475208"/>
              <a:gd name="connsiteX20" fmla="*/ 3398367 w 5518742"/>
              <a:gd name="connsiteY20" fmla="*/ 5235319 h 5475208"/>
              <a:gd name="connsiteX21" fmla="*/ 3525367 w 5518742"/>
              <a:gd name="connsiteY21" fmla="*/ 4981319 h 5475208"/>
              <a:gd name="connsiteX22" fmla="*/ 3595922 w 5518742"/>
              <a:gd name="connsiteY22" fmla="*/ 4473319 h 5475208"/>
              <a:gd name="connsiteX23" fmla="*/ 3666478 w 5518742"/>
              <a:gd name="connsiteY23" fmla="*/ 4318097 h 5475208"/>
              <a:gd name="connsiteX24" fmla="*/ 3737033 w 5518742"/>
              <a:gd name="connsiteY24" fmla="*/ 4191097 h 5475208"/>
              <a:gd name="connsiteX25" fmla="*/ 4061589 w 5518742"/>
              <a:gd name="connsiteY25" fmla="*/ 3951208 h 5475208"/>
              <a:gd name="connsiteX26" fmla="*/ 4287367 w 5518742"/>
              <a:gd name="connsiteY26" fmla="*/ 3824208 h 5475208"/>
              <a:gd name="connsiteX27" fmla="*/ 4513145 w 5518742"/>
              <a:gd name="connsiteY27" fmla="*/ 3697208 h 5475208"/>
              <a:gd name="connsiteX28" fmla="*/ 4710700 w 5518742"/>
              <a:gd name="connsiteY28" fmla="*/ 3584319 h 5475208"/>
              <a:gd name="connsiteX29" fmla="*/ 4865922 w 5518742"/>
              <a:gd name="connsiteY29" fmla="*/ 3485541 h 5475208"/>
              <a:gd name="connsiteX30" fmla="*/ 5275145 w 5518742"/>
              <a:gd name="connsiteY30" fmla="*/ 3104541 h 5475208"/>
              <a:gd name="connsiteX31" fmla="*/ 5500922 w 5518742"/>
              <a:gd name="connsiteY31" fmla="*/ 2243763 h 5475208"/>
              <a:gd name="connsiteX32" fmla="*/ 5500923 w 5518742"/>
              <a:gd name="connsiteY32" fmla="*/ 1580540 h 5475208"/>
              <a:gd name="connsiteX33" fmla="*/ 5472700 w 5518742"/>
              <a:gd name="connsiteY33" fmla="*/ 1114875 h 5475208"/>
              <a:gd name="connsiteX34" fmla="*/ 5416256 w 5518742"/>
              <a:gd name="connsiteY34" fmla="*/ 832652 h 5475208"/>
              <a:gd name="connsiteX35" fmla="*/ 5345701 w 5518742"/>
              <a:gd name="connsiteY35" fmla="*/ 493985 h 5475208"/>
              <a:gd name="connsiteX36" fmla="*/ 5204588 w 5518742"/>
              <a:gd name="connsiteY36" fmla="*/ 239986 h 5475208"/>
              <a:gd name="connsiteX37" fmla="*/ 4696588 w 5518742"/>
              <a:gd name="connsiteY37" fmla="*/ 14207 h 5475208"/>
              <a:gd name="connsiteX38" fmla="*/ 4160367 w 5518742"/>
              <a:gd name="connsiteY38" fmla="*/ 42430 h 5475208"/>
              <a:gd name="connsiteX39" fmla="*/ 3751145 w 5518742"/>
              <a:gd name="connsiteY39" fmla="*/ 197652 h 5475208"/>
              <a:gd name="connsiteX40" fmla="*/ 3468922 w 5518742"/>
              <a:gd name="connsiteY40" fmla="*/ 381097 h 5475208"/>
              <a:gd name="connsiteX41" fmla="*/ 3313700 w 5518742"/>
              <a:gd name="connsiteY41" fmla="*/ 620985 h 5475208"/>
              <a:gd name="connsiteX0" fmla="*/ 3313700 w 5518742"/>
              <a:gd name="connsiteY0" fmla="*/ 620985 h 5475208"/>
              <a:gd name="connsiteX1" fmla="*/ 3200811 w 5518742"/>
              <a:gd name="connsiteY1" fmla="*/ 1100764 h 5475208"/>
              <a:gd name="connsiteX2" fmla="*/ 3116145 w 5518742"/>
              <a:gd name="connsiteY2" fmla="*/ 1749874 h 5475208"/>
              <a:gd name="connsiteX3" fmla="*/ 3031478 w 5518742"/>
              <a:gd name="connsiteY3" fmla="*/ 2144986 h 5475208"/>
              <a:gd name="connsiteX4" fmla="*/ 2848033 w 5518742"/>
              <a:gd name="connsiteY4" fmla="*/ 2525985 h 5475208"/>
              <a:gd name="connsiteX5" fmla="*/ 2325922 w 5518742"/>
              <a:gd name="connsiteY5" fmla="*/ 2963430 h 5475208"/>
              <a:gd name="connsiteX6" fmla="*/ 2029589 w 5518742"/>
              <a:gd name="connsiteY6" fmla="*/ 3062208 h 5475208"/>
              <a:gd name="connsiteX7" fmla="*/ 1719145 w 5518742"/>
              <a:gd name="connsiteY7" fmla="*/ 3104541 h 5475208"/>
              <a:gd name="connsiteX8" fmla="*/ 1281700 w 5518742"/>
              <a:gd name="connsiteY8" fmla="*/ 3146874 h 5475208"/>
              <a:gd name="connsiteX9" fmla="*/ 1013589 w 5518742"/>
              <a:gd name="connsiteY9" fmla="*/ 3189208 h 5475208"/>
              <a:gd name="connsiteX10" fmla="*/ 646700 w 5518742"/>
              <a:gd name="connsiteY10" fmla="*/ 3302097 h 5475208"/>
              <a:gd name="connsiteX11" fmla="*/ 336256 w 5518742"/>
              <a:gd name="connsiteY11" fmla="*/ 3499652 h 5475208"/>
              <a:gd name="connsiteX12" fmla="*/ 166922 w 5518742"/>
              <a:gd name="connsiteY12" fmla="*/ 3711319 h 5475208"/>
              <a:gd name="connsiteX13" fmla="*/ 11700 w 5518742"/>
              <a:gd name="connsiteY13" fmla="*/ 4078208 h 5475208"/>
              <a:gd name="connsiteX14" fmla="*/ 68145 w 5518742"/>
              <a:gd name="connsiteY14" fmla="*/ 4572097 h 5475208"/>
              <a:gd name="connsiteX15" fmla="*/ 519700 w 5518742"/>
              <a:gd name="connsiteY15" fmla="*/ 4967208 h 5475208"/>
              <a:gd name="connsiteX16" fmla="*/ 1070034 w 5518742"/>
              <a:gd name="connsiteY16" fmla="*/ 5291763 h 5475208"/>
              <a:gd name="connsiteX17" fmla="*/ 1662700 w 5518742"/>
              <a:gd name="connsiteY17" fmla="*/ 5446985 h 5475208"/>
              <a:gd name="connsiteX18" fmla="*/ 2283589 w 5518742"/>
              <a:gd name="connsiteY18" fmla="*/ 5475208 h 5475208"/>
              <a:gd name="connsiteX19" fmla="*/ 2975034 w 5518742"/>
              <a:gd name="connsiteY19" fmla="*/ 5178873 h 5475208"/>
              <a:gd name="connsiteX20" fmla="*/ 3299590 w 5518742"/>
              <a:gd name="connsiteY20" fmla="*/ 4868430 h 5475208"/>
              <a:gd name="connsiteX21" fmla="*/ 3525367 w 5518742"/>
              <a:gd name="connsiteY21" fmla="*/ 4981319 h 5475208"/>
              <a:gd name="connsiteX22" fmla="*/ 3595922 w 5518742"/>
              <a:gd name="connsiteY22" fmla="*/ 4473319 h 5475208"/>
              <a:gd name="connsiteX23" fmla="*/ 3666478 w 5518742"/>
              <a:gd name="connsiteY23" fmla="*/ 4318097 h 5475208"/>
              <a:gd name="connsiteX24" fmla="*/ 3737033 w 5518742"/>
              <a:gd name="connsiteY24" fmla="*/ 4191097 h 5475208"/>
              <a:gd name="connsiteX25" fmla="*/ 4061589 w 5518742"/>
              <a:gd name="connsiteY25" fmla="*/ 3951208 h 5475208"/>
              <a:gd name="connsiteX26" fmla="*/ 4287367 w 5518742"/>
              <a:gd name="connsiteY26" fmla="*/ 3824208 h 5475208"/>
              <a:gd name="connsiteX27" fmla="*/ 4513145 w 5518742"/>
              <a:gd name="connsiteY27" fmla="*/ 3697208 h 5475208"/>
              <a:gd name="connsiteX28" fmla="*/ 4710700 w 5518742"/>
              <a:gd name="connsiteY28" fmla="*/ 3584319 h 5475208"/>
              <a:gd name="connsiteX29" fmla="*/ 4865922 w 5518742"/>
              <a:gd name="connsiteY29" fmla="*/ 3485541 h 5475208"/>
              <a:gd name="connsiteX30" fmla="*/ 5275145 w 5518742"/>
              <a:gd name="connsiteY30" fmla="*/ 3104541 h 5475208"/>
              <a:gd name="connsiteX31" fmla="*/ 5500922 w 5518742"/>
              <a:gd name="connsiteY31" fmla="*/ 2243763 h 5475208"/>
              <a:gd name="connsiteX32" fmla="*/ 5500923 w 5518742"/>
              <a:gd name="connsiteY32" fmla="*/ 1580540 h 5475208"/>
              <a:gd name="connsiteX33" fmla="*/ 5472700 w 5518742"/>
              <a:gd name="connsiteY33" fmla="*/ 1114875 h 5475208"/>
              <a:gd name="connsiteX34" fmla="*/ 5416256 w 5518742"/>
              <a:gd name="connsiteY34" fmla="*/ 832652 h 5475208"/>
              <a:gd name="connsiteX35" fmla="*/ 5345701 w 5518742"/>
              <a:gd name="connsiteY35" fmla="*/ 493985 h 5475208"/>
              <a:gd name="connsiteX36" fmla="*/ 5204588 w 5518742"/>
              <a:gd name="connsiteY36" fmla="*/ 239986 h 5475208"/>
              <a:gd name="connsiteX37" fmla="*/ 4696588 w 5518742"/>
              <a:gd name="connsiteY37" fmla="*/ 14207 h 5475208"/>
              <a:gd name="connsiteX38" fmla="*/ 4160367 w 5518742"/>
              <a:gd name="connsiteY38" fmla="*/ 42430 h 5475208"/>
              <a:gd name="connsiteX39" fmla="*/ 3751145 w 5518742"/>
              <a:gd name="connsiteY39" fmla="*/ 197652 h 5475208"/>
              <a:gd name="connsiteX40" fmla="*/ 3468922 w 5518742"/>
              <a:gd name="connsiteY40" fmla="*/ 381097 h 5475208"/>
              <a:gd name="connsiteX41" fmla="*/ 3313700 w 5518742"/>
              <a:gd name="connsiteY41" fmla="*/ 620985 h 5475208"/>
              <a:gd name="connsiteX0" fmla="*/ 3313700 w 5518742"/>
              <a:gd name="connsiteY0" fmla="*/ 620985 h 5475208"/>
              <a:gd name="connsiteX1" fmla="*/ 3200811 w 5518742"/>
              <a:gd name="connsiteY1" fmla="*/ 1100764 h 5475208"/>
              <a:gd name="connsiteX2" fmla="*/ 3116145 w 5518742"/>
              <a:gd name="connsiteY2" fmla="*/ 1749874 h 5475208"/>
              <a:gd name="connsiteX3" fmla="*/ 3031478 w 5518742"/>
              <a:gd name="connsiteY3" fmla="*/ 2144986 h 5475208"/>
              <a:gd name="connsiteX4" fmla="*/ 2848033 w 5518742"/>
              <a:gd name="connsiteY4" fmla="*/ 2525985 h 5475208"/>
              <a:gd name="connsiteX5" fmla="*/ 2325922 w 5518742"/>
              <a:gd name="connsiteY5" fmla="*/ 2963430 h 5475208"/>
              <a:gd name="connsiteX6" fmla="*/ 2029589 w 5518742"/>
              <a:gd name="connsiteY6" fmla="*/ 3062208 h 5475208"/>
              <a:gd name="connsiteX7" fmla="*/ 1719145 w 5518742"/>
              <a:gd name="connsiteY7" fmla="*/ 3104541 h 5475208"/>
              <a:gd name="connsiteX8" fmla="*/ 1281700 w 5518742"/>
              <a:gd name="connsiteY8" fmla="*/ 3146874 h 5475208"/>
              <a:gd name="connsiteX9" fmla="*/ 1013589 w 5518742"/>
              <a:gd name="connsiteY9" fmla="*/ 3189208 h 5475208"/>
              <a:gd name="connsiteX10" fmla="*/ 646700 w 5518742"/>
              <a:gd name="connsiteY10" fmla="*/ 3302097 h 5475208"/>
              <a:gd name="connsiteX11" fmla="*/ 336256 w 5518742"/>
              <a:gd name="connsiteY11" fmla="*/ 3499652 h 5475208"/>
              <a:gd name="connsiteX12" fmla="*/ 166922 w 5518742"/>
              <a:gd name="connsiteY12" fmla="*/ 3711319 h 5475208"/>
              <a:gd name="connsiteX13" fmla="*/ 11700 w 5518742"/>
              <a:gd name="connsiteY13" fmla="*/ 4078208 h 5475208"/>
              <a:gd name="connsiteX14" fmla="*/ 68145 w 5518742"/>
              <a:gd name="connsiteY14" fmla="*/ 4572097 h 5475208"/>
              <a:gd name="connsiteX15" fmla="*/ 519700 w 5518742"/>
              <a:gd name="connsiteY15" fmla="*/ 4967208 h 5475208"/>
              <a:gd name="connsiteX16" fmla="*/ 1070034 w 5518742"/>
              <a:gd name="connsiteY16" fmla="*/ 5291763 h 5475208"/>
              <a:gd name="connsiteX17" fmla="*/ 1662700 w 5518742"/>
              <a:gd name="connsiteY17" fmla="*/ 5446985 h 5475208"/>
              <a:gd name="connsiteX18" fmla="*/ 2283589 w 5518742"/>
              <a:gd name="connsiteY18" fmla="*/ 5475208 h 5475208"/>
              <a:gd name="connsiteX19" fmla="*/ 2975034 w 5518742"/>
              <a:gd name="connsiteY19" fmla="*/ 5178873 h 5475208"/>
              <a:gd name="connsiteX20" fmla="*/ 3299590 w 5518742"/>
              <a:gd name="connsiteY20" fmla="*/ 4868430 h 5475208"/>
              <a:gd name="connsiteX21" fmla="*/ 3525367 w 5518742"/>
              <a:gd name="connsiteY21" fmla="*/ 4981319 h 5475208"/>
              <a:gd name="connsiteX22" fmla="*/ 3483033 w 5518742"/>
              <a:gd name="connsiteY22" fmla="*/ 4459208 h 5475208"/>
              <a:gd name="connsiteX23" fmla="*/ 3666478 w 5518742"/>
              <a:gd name="connsiteY23" fmla="*/ 4318097 h 5475208"/>
              <a:gd name="connsiteX24" fmla="*/ 3737033 w 5518742"/>
              <a:gd name="connsiteY24" fmla="*/ 4191097 h 5475208"/>
              <a:gd name="connsiteX25" fmla="*/ 4061589 w 5518742"/>
              <a:gd name="connsiteY25" fmla="*/ 3951208 h 5475208"/>
              <a:gd name="connsiteX26" fmla="*/ 4287367 w 5518742"/>
              <a:gd name="connsiteY26" fmla="*/ 3824208 h 5475208"/>
              <a:gd name="connsiteX27" fmla="*/ 4513145 w 5518742"/>
              <a:gd name="connsiteY27" fmla="*/ 3697208 h 5475208"/>
              <a:gd name="connsiteX28" fmla="*/ 4710700 w 5518742"/>
              <a:gd name="connsiteY28" fmla="*/ 3584319 h 5475208"/>
              <a:gd name="connsiteX29" fmla="*/ 4865922 w 5518742"/>
              <a:gd name="connsiteY29" fmla="*/ 3485541 h 5475208"/>
              <a:gd name="connsiteX30" fmla="*/ 5275145 w 5518742"/>
              <a:gd name="connsiteY30" fmla="*/ 3104541 h 5475208"/>
              <a:gd name="connsiteX31" fmla="*/ 5500922 w 5518742"/>
              <a:gd name="connsiteY31" fmla="*/ 2243763 h 5475208"/>
              <a:gd name="connsiteX32" fmla="*/ 5500923 w 5518742"/>
              <a:gd name="connsiteY32" fmla="*/ 1580540 h 5475208"/>
              <a:gd name="connsiteX33" fmla="*/ 5472700 w 5518742"/>
              <a:gd name="connsiteY33" fmla="*/ 1114875 h 5475208"/>
              <a:gd name="connsiteX34" fmla="*/ 5416256 w 5518742"/>
              <a:gd name="connsiteY34" fmla="*/ 832652 h 5475208"/>
              <a:gd name="connsiteX35" fmla="*/ 5345701 w 5518742"/>
              <a:gd name="connsiteY35" fmla="*/ 493985 h 5475208"/>
              <a:gd name="connsiteX36" fmla="*/ 5204588 w 5518742"/>
              <a:gd name="connsiteY36" fmla="*/ 239986 h 5475208"/>
              <a:gd name="connsiteX37" fmla="*/ 4696588 w 5518742"/>
              <a:gd name="connsiteY37" fmla="*/ 14207 h 5475208"/>
              <a:gd name="connsiteX38" fmla="*/ 4160367 w 5518742"/>
              <a:gd name="connsiteY38" fmla="*/ 42430 h 5475208"/>
              <a:gd name="connsiteX39" fmla="*/ 3751145 w 5518742"/>
              <a:gd name="connsiteY39" fmla="*/ 197652 h 5475208"/>
              <a:gd name="connsiteX40" fmla="*/ 3468922 w 5518742"/>
              <a:gd name="connsiteY40" fmla="*/ 381097 h 5475208"/>
              <a:gd name="connsiteX41" fmla="*/ 3313700 w 5518742"/>
              <a:gd name="connsiteY41" fmla="*/ 620985 h 5475208"/>
              <a:gd name="connsiteX0" fmla="*/ 3313700 w 5518742"/>
              <a:gd name="connsiteY0" fmla="*/ 620985 h 5475208"/>
              <a:gd name="connsiteX1" fmla="*/ 3200811 w 5518742"/>
              <a:gd name="connsiteY1" fmla="*/ 1100764 h 5475208"/>
              <a:gd name="connsiteX2" fmla="*/ 3116145 w 5518742"/>
              <a:gd name="connsiteY2" fmla="*/ 1749874 h 5475208"/>
              <a:gd name="connsiteX3" fmla="*/ 3031478 w 5518742"/>
              <a:gd name="connsiteY3" fmla="*/ 2144986 h 5475208"/>
              <a:gd name="connsiteX4" fmla="*/ 2848033 w 5518742"/>
              <a:gd name="connsiteY4" fmla="*/ 2525985 h 5475208"/>
              <a:gd name="connsiteX5" fmla="*/ 2325922 w 5518742"/>
              <a:gd name="connsiteY5" fmla="*/ 2963430 h 5475208"/>
              <a:gd name="connsiteX6" fmla="*/ 2029589 w 5518742"/>
              <a:gd name="connsiteY6" fmla="*/ 3062208 h 5475208"/>
              <a:gd name="connsiteX7" fmla="*/ 1719145 w 5518742"/>
              <a:gd name="connsiteY7" fmla="*/ 3104541 h 5475208"/>
              <a:gd name="connsiteX8" fmla="*/ 1281700 w 5518742"/>
              <a:gd name="connsiteY8" fmla="*/ 3146874 h 5475208"/>
              <a:gd name="connsiteX9" fmla="*/ 1013589 w 5518742"/>
              <a:gd name="connsiteY9" fmla="*/ 3189208 h 5475208"/>
              <a:gd name="connsiteX10" fmla="*/ 646700 w 5518742"/>
              <a:gd name="connsiteY10" fmla="*/ 3302097 h 5475208"/>
              <a:gd name="connsiteX11" fmla="*/ 336256 w 5518742"/>
              <a:gd name="connsiteY11" fmla="*/ 3499652 h 5475208"/>
              <a:gd name="connsiteX12" fmla="*/ 166922 w 5518742"/>
              <a:gd name="connsiteY12" fmla="*/ 3711319 h 5475208"/>
              <a:gd name="connsiteX13" fmla="*/ 11700 w 5518742"/>
              <a:gd name="connsiteY13" fmla="*/ 4078208 h 5475208"/>
              <a:gd name="connsiteX14" fmla="*/ 68145 w 5518742"/>
              <a:gd name="connsiteY14" fmla="*/ 4572097 h 5475208"/>
              <a:gd name="connsiteX15" fmla="*/ 519700 w 5518742"/>
              <a:gd name="connsiteY15" fmla="*/ 4967208 h 5475208"/>
              <a:gd name="connsiteX16" fmla="*/ 1070034 w 5518742"/>
              <a:gd name="connsiteY16" fmla="*/ 5291763 h 5475208"/>
              <a:gd name="connsiteX17" fmla="*/ 1662700 w 5518742"/>
              <a:gd name="connsiteY17" fmla="*/ 5446985 h 5475208"/>
              <a:gd name="connsiteX18" fmla="*/ 2283589 w 5518742"/>
              <a:gd name="connsiteY18" fmla="*/ 5475208 h 5475208"/>
              <a:gd name="connsiteX19" fmla="*/ 2975034 w 5518742"/>
              <a:gd name="connsiteY19" fmla="*/ 5178873 h 5475208"/>
              <a:gd name="connsiteX20" fmla="*/ 3299590 w 5518742"/>
              <a:gd name="connsiteY20" fmla="*/ 4868430 h 5475208"/>
              <a:gd name="connsiteX21" fmla="*/ 3483033 w 5518742"/>
              <a:gd name="connsiteY21" fmla="*/ 4459208 h 5475208"/>
              <a:gd name="connsiteX22" fmla="*/ 3666478 w 5518742"/>
              <a:gd name="connsiteY22" fmla="*/ 4318097 h 5475208"/>
              <a:gd name="connsiteX23" fmla="*/ 3737033 w 5518742"/>
              <a:gd name="connsiteY23" fmla="*/ 4191097 h 5475208"/>
              <a:gd name="connsiteX24" fmla="*/ 4061589 w 5518742"/>
              <a:gd name="connsiteY24" fmla="*/ 3951208 h 5475208"/>
              <a:gd name="connsiteX25" fmla="*/ 4287367 w 5518742"/>
              <a:gd name="connsiteY25" fmla="*/ 3824208 h 5475208"/>
              <a:gd name="connsiteX26" fmla="*/ 4513145 w 5518742"/>
              <a:gd name="connsiteY26" fmla="*/ 3697208 h 5475208"/>
              <a:gd name="connsiteX27" fmla="*/ 4710700 w 5518742"/>
              <a:gd name="connsiteY27" fmla="*/ 3584319 h 5475208"/>
              <a:gd name="connsiteX28" fmla="*/ 4865922 w 5518742"/>
              <a:gd name="connsiteY28" fmla="*/ 3485541 h 5475208"/>
              <a:gd name="connsiteX29" fmla="*/ 5275145 w 5518742"/>
              <a:gd name="connsiteY29" fmla="*/ 3104541 h 5475208"/>
              <a:gd name="connsiteX30" fmla="*/ 5500922 w 5518742"/>
              <a:gd name="connsiteY30" fmla="*/ 2243763 h 5475208"/>
              <a:gd name="connsiteX31" fmla="*/ 5500923 w 5518742"/>
              <a:gd name="connsiteY31" fmla="*/ 1580540 h 5475208"/>
              <a:gd name="connsiteX32" fmla="*/ 5472700 w 5518742"/>
              <a:gd name="connsiteY32" fmla="*/ 1114875 h 5475208"/>
              <a:gd name="connsiteX33" fmla="*/ 5416256 w 5518742"/>
              <a:gd name="connsiteY33" fmla="*/ 832652 h 5475208"/>
              <a:gd name="connsiteX34" fmla="*/ 5345701 w 5518742"/>
              <a:gd name="connsiteY34" fmla="*/ 493985 h 5475208"/>
              <a:gd name="connsiteX35" fmla="*/ 5204588 w 5518742"/>
              <a:gd name="connsiteY35" fmla="*/ 239986 h 5475208"/>
              <a:gd name="connsiteX36" fmla="*/ 4696588 w 5518742"/>
              <a:gd name="connsiteY36" fmla="*/ 14207 h 5475208"/>
              <a:gd name="connsiteX37" fmla="*/ 4160367 w 5518742"/>
              <a:gd name="connsiteY37" fmla="*/ 42430 h 5475208"/>
              <a:gd name="connsiteX38" fmla="*/ 3751145 w 5518742"/>
              <a:gd name="connsiteY38" fmla="*/ 197652 h 5475208"/>
              <a:gd name="connsiteX39" fmla="*/ 3468922 w 5518742"/>
              <a:gd name="connsiteY39" fmla="*/ 381097 h 5475208"/>
              <a:gd name="connsiteX40" fmla="*/ 3313700 w 5518742"/>
              <a:gd name="connsiteY40" fmla="*/ 620985 h 5475208"/>
              <a:gd name="connsiteX0" fmla="*/ 3313700 w 5518742"/>
              <a:gd name="connsiteY0" fmla="*/ 620985 h 5475208"/>
              <a:gd name="connsiteX1" fmla="*/ 3200811 w 5518742"/>
              <a:gd name="connsiteY1" fmla="*/ 1100764 h 5475208"/>
              <a:gd name="connsiteX2" fmla="*/ 3116145 w 5518742"/>
              <a:gd name="connsiteY2" fmla="*/ 1749874 h 5475208"/>
              <a:gd name="connsiteX3" fmla="*/ 3031478 w 5518742"/>
              <a:gd name="connsiteY3" fmla="*/ 2144986 h 5475208"/>
              <a:gd name="connsiteX4" fmla="*/ 2848033 w 5518742"/>
              <a:gd name="connsiteY4" fmla="*/ 2525985 h 5475208"/>
              <a:gd name="connsiteX5" fmla="*/ 2325922 w 5518742"/>
              <a:gd name="connsiteY5" fmla="*/ 2963430 h 5475208"/>
              <a:gd name="connsiteX6" fmla="*/ 2029589 w 5518742"/>
              <a:gd name="connsiteY6" fmla="*/ 3062208 h 5475208"/>
              <a:gd name="connsiteX7" fmla="*/ 1719145 w 5518742"/>
              <a:gd name="connsiteY7" fmla="*/ 3104541 h 5475208"/>
              <a:gd name="connsiteX8" fmla="*/ 1281700 w 5518742"/>
              <a:gd name="connsiteY8" fmla="*/ 3146874 h 5475208"/>
              <a:gd name="connsiteX9" fmla="*/ 1013589 w 5518742"/>
              <a:gd name="connsiteY9" fmla="*/ 3189208 h 5475208"/>
              <a:gd name="connsiteX10" fmla="*/ 646700 w 5518742"/>
              <a:gd name="connsiteY10" fmla="*/ 3302097 h 5475208"/>
              <a:gd name="connsiteX11" fmla="*/ 336256 w 5518742"/>
              <a:gd name="connsiteY11" fmla="*/ 3499652 h 5475208"/>
              <a:gd name="connsiteX12" fmla="*/ 166922 w 5518742"/>
              <a:gd name="connsiteY12" fmla="*/ 3711319 h 5475208"/>
              <a:gd name="connsiteX13" fmla="*/ 11700 w 5518742"/>
              <a:gd name="connsiteY13" fmla="*/ 4078208 h 5475208"/>
              <a:gd name="connsiteX14" fmla="*/ 68145 w 5518742"/>
              <a:gd name="connsiteY14" fmla="*/ 4572097 h 5475208"/>
              <a:gd name="connsiteX15" fmla="*/ 519700 w 5518742"/>
              <a:gd name="connsiteY15" fmla="*/ 4967208 h 5475208"/>
              <a:gd name="connsiteX16" fmla="*/ 1070034 w 5518742"/>
              <a:gd name="connsiteY16" fmla="*/ 5291763 h 5475208"/>
              <a:gd name="connsiteX17" fmla="*/ 1662700 w 5518742"/>
              <a:gd name="connsiteY17" fmla="*/ 5446985 h 5475208"/>
              <a:gd name="connsiteX18" fmla="*/ 2283589 w 5518742"/>
              <a:gd name="connsiteY18" fmla="*/ 5475208 h 5475208"/>
              <a:gd name="connsiteX19" fmla="*/ 2975034 w 5518742"/>
              <a:gd name="connsiteY19" fmla="*/ 5178873 h 5475208"/>
              <a:gd name="connsiteX20" fmla="*/ 3299590 w 5518742"/>
              <a:gd name="connsiteY20" fmla="*/ 4868430 h 5475208"/>
              <a:gd name="connsiteX21" fmla="*/ 3483033 w 5518742"/>
              <a:gd name="connsiteY21" fmla="*/ 4459208 h 5475208"/>
              <a:gd name="connsiteX22" fmla="*/ 3737033 w 5518742"/>
              <a:gd name="connsiteY22" fmla="*/ 4191097 h 5475208"/>
              <a:gd name="connsiteX23" fmla="*/ 4061589 w 5518742"/>
              <a:gd name="connsiteY23" fmla="*/ 3951208 h 5475208"/>
              <a:gd name="connsiteX24" fmla="*/ 4287367 w 5518742"/>
              <a:gd name="connsiteY24" fmla="*/ 3824208 h 5475208"/>
              <a:gd name="connsiteX25" fmla="*/ 4513145 w 5518742"/>
              <a:gd name="connsiteY25" fmla="*/ 3697208 h 5475208"/>
              <a:gd name="connsiteX26" fmla="*/ 4710700 w 5518742"/>
              <a:gd name="connsiteY26" fmla="*/ 3584319 h 5475208"/>
              <a:gd name="connsiteX27" fmla="*/ 4865922 w 5518742"/>
              <a:gd name="connsiteY27" fmla="*/ 3485541 h 5475208"/>
              <a:gd name="connsiteX28" fmla="*/ 5275145 w 5518742"/>
              <a:gd name="connsiteY28" fmla="*/ 3104541 h 5475208"/>
              <a:gd name="connsiteX29" fmla="*/ 5500922 w 5518742"/>
              <a:gd name="connsiteY29" fmla="*/ 2243763 h 5475208"/>
              <a:gd name="connsiteX30" fmla="*/ 5500923 w 5518742"/>
              <a:gd name="connsiteY30" fmla="*/ 1580540 h 5475208"/>
              <a:gd name="connsiteX31" fmla="*/ 5472700 w 5518742"/>
              <a:gd name="connsiteY31" fmla="*/ 1114875 h 5475208"/>
              <a:gd name="connsiteX32" fmla="*/ 5416256 w 5518742"/>
              <a:gd name="connsiteY32" fmla="*/ 832652 h 5475208"/>
              <a:gd name="connsiteX33" fmla="*/ 5345701 w 5518742"/>
              <a:gd name="connsiteY33" fmla="*/ 493985 h 5475208"/>
              <a:gd name="connsiteX34" fmla="*/ 5204588 w 5518742"/>
              <a:gd name="connsiteY34" fmla="*/ 239986 h 5475208"/>
              <a:gd name="connsiteX35" fmla="*/ 4696588 w 5518742"/>
              <a:gd name="connsiteY35" fmla="*/ 14207 h 5475208"/>
              <a:gd name="connsiteX36" fmla="*/ 4160367 w 5518742"/>
              <a:gd name="connsiteY36" fmla="*/ 42430 h 5475208"/>
              <a:gd name="connsiteX37" fmla="*/ 3751145 w 5518742"/>
              <a:gd name="connsiteY37" fmla="*/ 197652 h 5475208"/>
              <a:gd name="connsiteX38" fmla="*/ 3468922 w 5518742"/>
              <a:gd name="connsiteY38" fmla="*/ 381097 h 5475208"/>
              <a:gd name="connsiteX39" fmla="*/ 3313700 w 5518742"/>
              <a:gd name="connsiteY39" fmla="*/ 620985 h 5475208"/>
              <a:gd name="connsiteX0" fmla="*/ 3246534 w 5451576"/>
              <a:gd name="connsiteY0" fmla="*/ 620985 h 5475208"/>
              <a:gd name="connsiteX1" fmla="*/ 3133645 w 5451576"/>
              <a:gd name="connsiteY1" fmla="*/ 1100764 h 5475208"/>
              <a:gd name="connsiteX2" fmla="*/ 3048979 w 5451576"/>
              <a:gd name="connsiteY2" fmla="*/ 1749874 h 5475208"/>
              <a:gd name="connsiteX3" fmla="*/ 2964312 w 5451576"/>
              <a:gd name="connsiteY3" fmla="*/ 2144986 h 5475208"/>
              <a:gd name="connsiteX4" fmla="*/ 2780867 w 5451576"/>
              <a:gd name="connsiteY4" fmla="*/ 2525985 h 5475208"/>
              <a:gd name="connsiteX5" fmla="*/ 2258756 w 5451576"/>
              <a:gd name="connsiteY5" fmla="*/ 2963430 h 5475208"/>
              <a:gd name="connsiteX6" fmla="*/ 1962423 w 5451576"/>
              <a:gd name="connsiteY6" fmla="*/ 3062208 h 5475208"/>
              <a:gd name="connsiteX7" fmla="*/ 1651979 w 5451576"/>
              <a:gd name="connsiteY7" fmla="*/ 3104541 h 5475208"/>
              <a:gd name="connsiteX8" fmla="*/ 1214534 w 5451576"/>
              <a:gd name="connsiteY8" fmla="*/ 3146874 h 5475208"/>
              <a:gd name="connsiteX9" fmla="*/ 946423 w 5451576"/>
              <a:gd name="connsiteY9" fmla="*/ 3189208 h 5475208"/>
              <a:gd name="connsiteX10" fmla="*/ 579534 w 5451576"/>
              <a:gd name="connsiteY10" fmla="*/ 3302097 h 5475208"/>
              <a:gd name="connsiteX11" fmla="*/ 269090 w 5451576"/>
              <a:gd name="connsiteY11" fmla="*/ 3499652 h 5475208"/>
              <a:gd name="connsiteX12" fmla="*/ 99756 w 5451576"/>
              <a:gd name="connsiteY12" fmla="*/ 3711319 h 5475208"/>
              <a:gd name="connsiteX13" fmla="*/ 325534 w 5451576"/>
              <a:gd name="connsiteY13" fmla="*/ 4064097 h 5475208"/>
              <a:gd name="connsiteX14" fmla="*/ 979 w 5451576"/>
              <a:gd name="connsiteY14" fmla="*/ 4572097 h 5475208"/>
              <a:gd name="connsiteX15" fmla="*/ 452534 w 5451576"/>
              <a:gd name="connsiteY15" fmla="*/ 4967208 h 5475208"/>
              <a:gd name="connsiteX16" fmla="*/ 1002868 w 5451576"/>
              <a:gd name="connsiteY16" fmla="*/ 5291763 h 5475208"/>
              <a:gd name="connsiteX17" fmla="*/ 1595534 w 5451576"/>
              <a:gd name="connsiteY17" fmla="*/ 5446985 h 5475208"/>
              <a:gd name="connsiteX18" fmla="*/ 2216423 w 5451576"/>
              <a:gd name="connsiteY18" fmla="*/ 5475208 h 5475208"/>
              <a:gd name="connsiteX19" fmla="*/ 2907868 w 5451576"/>
              <a:gd name="connsiteY19" fmla="*/ 5178873 h 5475208"/>
              <a:gd name="connsiteX20" fmla="*/ 3232424 w 5451576"/>
              <a:gd name="connsiteY20" fmla="*/ 4868430 h 5475208"/>
              <a:gd name="connsiteX21" fmla="*/ 3415867 w 5451576"/>
              <a:gd name="connsiteY21" fmla="*/ 4459208 h 5475208"/>
              <a:gd name="connsiteX22" fmla="*/ 3669867 w 5451576"/>
              <a:gd name="connsiteY22" fmla="*/ 4191097 h 5475208"/>
              <a:gd name="connsiteX23" fmla="*/ 3994423 w 5451576"/>
              <a:gd name="connsiteY23" fmla="*/ 3951208 h 5475208"/>
              <a:gd name="connsiteX24" fmla="*/ 4220201 w 5451576"/>
              <a:gd name="connsiteY24" fmla="*/ 3824208 h 5475208"/>
              <a:gd name="connsiteX25" fmla="*/ 4445979 w 5451576"/>
              <a:gd name="connsiteY25" fmla="*/ 3697208 h 5475208"/>
              <a:gd name="connsiteX26" fmla="*/ 4643534 w 5451576"/>
              <a:gd name="connsiteY26" fmla="*/ 3584319 h 5475208"/>
              <a:gd name="connsiteX27" fmla="*/ 4798756 w 5451576"/>
              <a:gd name="connsiteY27" fmla="*/ 3485541 h 5475208"/>
              <a:gd name="connsiteX28" fmla="*/ 5207979 w 5451576"/>
              <a:gd name="connsiteY28" fmla="*/ 3104541 h 5475208"/>
              <a:gd name="connsiteX29" fmla="*/ 5433756 w 5451576"/>
              <a:gd name="connsiteY29" fmla="*/ 2243763 h 5475208"/>
              <a:gd name="connsiteX30" fmla="*/ 5433757 w 5451576"/>
              <a:gd name="connsiteY30" fmla="*/ 1580540 h 5475208"/>
              <a:gd name="connsiteX31" fmla="*/ 5405534 w 5451576"/>
              <a:gd name="connsiteY31" fmla="*/ 1114875 h 5475208"/>
              <a:gd name="connsiteX32" fmla="*/ 5349090 w 5451576"/>
              <a:gd name="connsiteY32" fmla="*/ 832652 h 5475208"/>
              <a:gd name="connsiteX33" fmla="*/ 5278535 w 5451576"/>
              <a:gd name="connsiteY33" fmla="*/ 493985 h 5475208"/>
              <a:gd name="connsiteX34" fmla="*/ 5137422 w 5451576"/>
              <a:gd name="connsiteY34" fmla="*/ 239986 h 5475208"/>
              <a:gd name="connsiteX35" fmla="*/ 4629422 w 5451576"/>
              <a:gd name="connsiteY35" fmla="*/ 14207 h 5475208"/>
              <a:gd name="connsiteX36" fmla="*/ 4093201 w 5451576"/>
              <a:gd name="connsiteY36" fmla="*/ 42430 h 5475208"/>
              <a:gd name="connsiteX37" fmla="*/ 3683979 w 5451576"/>
              <a:gd name="connsiteY37" fmla="*/ 197652 h 5475208"/>
              <a:gd name="connsiteX38" fmla="*/ 3401756 w 5451576"/>
              <a:gd name="connsiteY38" fmla="*/ 381097 h 5475208"/>
              <a:gd name="connsiteX39" fmla="*/ 3246534 w 5451576"/>
              <a:gd name="connsiteY39" fmla="*/ 620985 h 5475208"/>
              <a:gd name="connsiteX0" fmla="*/ 3246534 w 5451576"/>
              <a:gd name="connsiteY0" fmla="*/ 620985 h 5475208"/>
              <a:gd name="connsiteX1" fmla="*/ 3133645 w 5451576"/>
              <a:gd name="connsiteY1" fmla="*/ 1100764 h 5475208"/>
              <a:gd name="connsiteX2" fmla="*/ 3048979 w 5451576"/>
              <a:gd name="connsiteY2" fmla="*/ 1749874 h 5475208"/>
              <a:gd name="connsiteX3" fmla="*/ 2964312 w 5451576"/>
              <a:gd name="connsiteY3" fmla="*/ 2144986 h 5475208"/>
              <a:gd name="connsiteX4" fmla="*/ 2780867 w 5451576"/>
              <a:gd name="connsiteY4" fmla="*/ 2525985 h 5475208"/>
              <a:gd name="connsiteX5" fmla="*/ 2258756 w 5451576"/>
              <a:gd name="connsiteY5" fmla="*/ 2963430 h 5475208"/>
              <a:gd name="connsiteX6" fmla="*/ 1962423 w 5451576"/>
              <a:gd name="connsiteY6" fmla="*/ 3062208 h 5475208"/>
              <a:gd name="connsiteX7" fmla="*/ 1651979 w 5451576"/>
              <a:gd name="connsiteY7" fmla="*/ 3104541 h 5475208"/>
              <a:gd name="connsiteX8" fmla="*/ 1214534 w 5451576"/>
              <a:gd name="connsiteY8" fmla="*/ 3146874 h 5475208"/>
              <a:gd name="connsiteX9" fmla="*/ 946423 w 5451576"/>
              <a:gd name="connsiteY9" fmla="*/ 3189208 h 5475208"/>
              <a:gd name="connsiteX10" fmla="*/ 579534 w 5451576"/>
              <a:gd name="connsiteY10" fmla="*/ 3302097 h 5475208"/>
              <a:gd name="connsiteX11" fmla="*/ 269090 w 5451576"/>
              <a:gd name="connsiteY11" fmla="*/ 3499652 h 5475208"/>
              <a:gd name="connsiteX12" fmla="*/ 946423 w 5451576"/>
              <a:gd name="connsiteY12" fmla="*/ 3443208 h 5475208"/>
              <a:gd name="connsiteX13" fmla="*/ 325534 w 5451576"/>
              <a:gd name="connsiteY13" fmla="*/ 4064097 h 5475208"/>
              <a:gd name="connsiteX14" fmla="*/ 979 w 5451576"/>
              <a:gd name="connsiteY14" fmla="*/ 4572097 h 5475208"/>
              <a:gd name="connsiteX15" fmla="*/ 452534 w 5451576"/>
              <a:gd name="connsiteY15" fmla="*/ 4967208 h 5475208"/>
              <a:gd name="connsiteX16" fmla="*/ 1002868 w 5451576"/>
              <a:gd name="connsiteY16" fmla="*/ 5291763 h 5475208"/>
              <a:gd name="connsiteX17" fmla="*/ 1595534 w 5451576"/>
              <a:gd name="connsiteY17" fmla="*/ 5446985 h 5475208"/>
              <a:gd name="connsiteX18" fmla="*/ 2216423 w 5451576"/>
              <a:gd name="connsiteY18" fmla="*/ 5475208 h 5475208"/>
              <a:gd name="connsiteX19" fmla="*/ 2907868 w 5451576"/>
              <a:gd name="connsiteY19" fmla="*/ 5178873 h 5475208"/>
              <a:gd name="connsiteX20" fmla="*/ 3232424 w 5451576"/>
              <a:gd name="connsiteY20" fmla="*/ 4868430 h 5475208"/>
              <a:gd name="connsiteX21" fmla="*/ 3415867 w 5451576"/>
              <a:gd name="connsiteY21" fmla="*/ 4459208 h 5475208"/>
              <a:gd name="connsiteX22" fmla="*/ 3669867 w 5451576"/>
              <a:gd name="connsiteY22" fmla="*/ 4191097 h 5475208"/>
              <a:gd name="connsiteX23" fmla="*/ 3994423 w 5451576"/>
              <a:gd name="connsiteY23" fmla="*/ 3951208 h 5475208"/>
              <a:gd name="connsiteX24" fmla="*/ 4220201 w 5451576"/>
              <a:gd name="connsiteY24" fmla="*/ 3824208 h 5475208"/>
              <a:gd name="connsiteX25" fmla="*/ 4445979 w 5451576"/>
              <a:gd name="connsiteY25" fmla="*/ 3697208 h 5475208"/>
              <a:gd name="connsiteX26" fmla="*/ 4643534 w 5451576"/>
              <a:gd name="connsiteY26" fmla="*/ 3584319 h 5475208"/>
              <a:gd name="connsiteX27" fmla="*/ 4798756 w 5451576"/>
              <a:gd name="connsiteY27" fmla="*/ 3485541 h 5475208"/>
              <a:gd name="connsiteX28" fmla="*/ 5207979 w 5451576"/>
              <a:gd name="connsiteY28" fmla="*/ 3104541 h 5475208"/>
              <a:gd name="connsiteX29" fmla="*/ 5433756 w 5451576"/>
              <a:gd name="connsiteY29" fmla="*/ 2243763 h 5475208"/>
              <a:gd name="connsiteX30" fmla="*/ 5433757 w 5451576"/>
              <a:gd name="connsiteY30" fmla="*/ 1580540 h 5475208"/>
              <a:gd name="connsiteX31" fmla="*/ 5405534 w 5451576"/>
              <a:gd name="connsiteY31" fmla="*/ 1114875 h 5475208"/>
              <a:gd name="connsiteX32" fmla="*/ 5349090 w 5451576"/>
              <a:gd name="connsiteY32" fmla="*/ 832652 h 5475208"/>
              <a:gd name="connsiteX33" fmla="*/ 5278535 w 5451576"/>
              <a:gd name="connsiteY33" fmla="*/ 493985 h 5475208"/>
              <a:gd name="connsiteX34" fmla="*/ 5137422 w 5451576"/>
              <a:gd name="connsiteY34" fmla="*/ 239986 h 5475208"/>
              <a:gd name="connsiteX35" fmla="*/ 4629422 w 5451576"/>
              <a:gd name="connsiteY35" fmla="*/ 14207 h 5475208"/>
              <a:gd name="connsiteX36" fmla="*/ 4093201 w 5451576"/>
              <a:gd name="connsiteY36" fmla="*/ 42430 h 5475208"/>
              <a:gd name="connsiteX37" fmla="*/ 3683979 w 5451576"/>
              <a:gd name="connsiteY37" fmla="*/ 197652 h 5475208"/>
              <a:gd name="connsiteX38" fmla="*/ 3401756 w 5451576"/>
              <a:gd name="connsiteY38" fmla="*/ 381097 h 5475208"/>
              <a:gd name="connsiteX39" fmla="*/ 3246534 w 5451576"/>
              <a:gd name="connsiteY39" fmla="*/ 620985 h 5475208"/>
              <a:gd name="connsiteX0" fmla="*/ 3246534 w 5451576"/>
              <a:gd name="connsiteY0" fmla="*/ 620985 h 5475208"/>
              <a:gd name="connsiteX1" fmla="*/ 3133645 w 5451576"/>
              <a:gd name="connsiteY1" fmla="*/ 1100764 h 5475208"/>
              <a:gd name="connsiteX2" fmla="*/ 3048979 w 5451576"/>
              <a:gd name="connsiteY2" fmla="*/ 1749874 h 5475208"/>
              <a:gd name="connsiteX3" fmla="*/ 2964312 w 5451576"/>
              <a:gd name="connsiteY3" fmla="*/ 2144986 h 5475208"/>
              <a:gd name="connsiteX4" fmla="*/ 2780867 w 5451576"/>
              <a:gd name="connsiteY4" fmla="*/ 2525985 h 5475208"/>
              <a:gd name="connsiteX5" fmla="*/ 2258756 w 5451576"/>
              <a:gd name="connsiteY5" fmla="*/ 2963430 h 5475208"/>
              <a:gd name="connsiteX6" fmla="*/ 1962423 w 5451576"/>
              <a:gd name="connsiteY6" fmla="*/ 3062208 h 5475208"/>
              <a:gd name="connsiteX7" fmla="*/ 1651979 w 5451576"/>
              <a:gd name="connsiteY7" fmla="*/ 3104541 h 5475208"/>
              <a:gd name="connsiteX8" fmla="*/ 1214534 w 5451576"/>
              <a:gd name="connsiteY8" fmla="*/ 3146874 h 5475208"/>
              <a:gd name="connsiteX9" fmla="*/ 1285090 w 5451576"/>
              <a:gd name="connsiteY9" fmla="*/ 3302097 h 5475208"/>
              <a:gd name="connsiteX10" fmla="*/ 579534 w 5451576"/>
              <a:gd name="connsiteY10" fmla="*/ 3302097 h 5475208"/>
              <a:gd name="connsiteX11" fmla="*/ 269090 w 5451576"/>
              <a:gd name="connsiteY11" fmla="*/ 3499652 h 5475208"/>
              <a:gd name="connsiteX12" fmla="*/ 946423 w 5451576"/>
              <a:gd name="connsiteY12" fmla="*/ 3443208 h 5475208"/>
              <a:gd name="connsiteX13" fmla="*/ 325534 w 5451576"/>
              <a:gd name="connsiteY13" fmla="*/ 4064097 h 5475208"/>
              <a:gd name="connsiteX14" fmla="*/ 979 w 5451576"/>
              <a:gd name="connsiteY14" fmla="*/ 4572097 h 5475208"/>
              <a:gd name="connsiteX15" fmla="*/ 452534 w 5451576"/>
              <a:gd name="connsiteY15" fmla="*/ 4967208 h 5475208"/>
              <a:gd name="connsiteX16" fmla="*/ 1002868 w 5451576"/>
              <a:gd name="connsiteY16" fmla="*/ 5291763 h 5475208"/>
              <a:gd name="connsiteX17" fmla="*/ 1595534 w 5451576"/>
              <a:gd name="connsiteY17" fmla="*/ 5446985 h 5475208"/>
              <a:gd name="connsiteX18" fmla="*/ 2216423 w 5451576"/>
              <a:gd name="connsiteY18" fmla="*/ 5475208 h 5475208"/>
              <a:gd name="connsiteX19" fmla="*/ 2907868 w 5451576"/>
              <a:gd name="connsiteY19" fmla="*/ 5178873 h 5475208"/>
              <a:gd name="connsiteX20" fmla="*/ 3232424 w 5451576"/>
              <a:gd name="connsiteY20" fmla="*/ 4868430 h 5475208"/>
              <a:gd name="connsiteX21" fmla="*/ 3415867 w 5451576"/>
              <a:gd name="connsiteY21" fmla="*/ 4459208 h 5475208"/>
              <a:gd name="connsiteX22" fmla="*/ 3669867 w 5451576"/>
              <a:gd name="connsiteY22" fmla="*/ 4191097 h 5475208"/>
              <a:gd name="connsiteX23" fmla="*/ 3994423 w 5451576"/>
              <a:gd name="connsiteY23" fmla="*/ 3951208 h 5475208"/>
              <a:gd name="connsiteX24" fmla="*/ 4220201 w 5451576"/>
              <a:gd name="connsiteY24" fmla="*/ 3824208 h 5475208"/>
              <a:gd name="connsiteX25" fmla="*/ 4445979 w 5451576"/>
              <a:gd name="connsiteY25" fmla="*/ 3697208 h 5475208"/>
              <a:gd name="connsiteX26" fmla="*/ 4643534 w 5451576"/>
              <a:gd name="connsiteY26" fmla="*/ 3584319 h 5475208"/>
              <a:gd name="connsiteX27" fmla="*/ 4798756 w 5451576"/>
              <a:gd name="connsiteY27" fmla="*/ 3485541 h 5475208"/>
              <a:gd name="connsiteX28" fmla="*/ 5207979 w 5451576"/>
              <a:gd name="connsiteY28" fmla="*/ 3104541 h 5475208"/>
              <a:gd name="connsiteX29" fmla="*/ 5433756 w 5451576"/>
              <a:gd name="connsiteY29" fmla="*/ 2243763 h 5475208"/>
              <a:gd name="connsiteX30" fmla="*/ 5433757 w 5451576"/>
              <a:gd name="connsiteY30" fmla="*/ 1580540 h 5475208"/>
              <a:gd name="connsiteX31" fmla="*/ 5405534 w 5451576"/>
              <a:gd name="connsiteY31" fmla="*/ 1114875 h 5475208"/>
              <a:gd name="connsiteX32" fmla="*/ 5349090 w 5451576"/>
              <a:gd name="connsiteY32" fmla="*/ 832652 h 5475208"/>
              <a:gd name="connsiteX33" fmla="*/ 5278535 w 5451576"/>
              <a:gd name="connsiteY33" fmla="*/ 493985 h 5475208"/>
              <a:gd name="connsiteX34" fmla="*/ 5137422 w 5451576"/>
              <a:gd name="connsiteY34" fmla="*/ 239986 h 5475208"/>
              <a:gd name="connsiteX35" fmla="*/ 4629422 w 5451576"/>
              <a:gd name="connsiteY35" fmla="*/ 14207 h 5475208"/>
              <a:gd name="connsiteX36" fmla="*/ 4093201 w 5451576"/>
              <a:gd name="connsiteY36" fmla="*/ 42430 h 5475208"/>
              <a:gd name="connsiteX37" fmla="*/ 3683979 w 5451576"/>
              <a:gd name="connsiteY37" fmla="*/ 197652 h 5475208"/>
              <a:gd name="connsiteX38" fmla="*/ 3401756 w 5451576"/>
              <a:gd name="connsiteY38" fmla="*/ 381097 h 5475208"/>
              <a:gd name="connsiteX39" fmla="*/ 3246534 w 5451576"/>
              <a:gd name="connsiteY39" fmla="*/ 620985 h 5475208"/>
              <a:gd name="connsiteX0" fmla="*/ 3246534 w 5451576"/>
              <a:gd name="connsiteY0" fmla="*/ 620985 h 5475208"/>
              <a:gd name="connsiteX1" fmla="*/ 3133645 w 5451576"/>
              <a:gd name="connsiteY1" fmla="*/ 1100764 h 5475208"/>
              <a:gd name="connsiteX2" fmla="*/ 3048979 w 5451576"/>
              <a:gd name="connsiteY2" fmla="*/ 1749874 h 5475208"/>
              <a:gd name="connsiteX3" fmla="*/ 2964312 w 5451576"/>
              <a:gd name="connsiteY3" fmla="*/ 2144986 h 5475208"/>
              <a:gd name="connsiteX4" fmla="*/ 2780867 w 5451576"/>
              <a:gd name="connsiteY4" fmla="*/ 2525985 h 5475208"/>
              <a:gd name="connsiteX5" fmla="*/ 2258756 w 5451576"/>
              <a:gd name="connsiteY5" fmla="*/ 2963430 h 5475208"/>
              <a:gd name="connsiteX6" fmla="*/ 1962423 w 5451576"/>
              <a:gd name="connsiteY6" fmla="*/ 3062208 h 5475208"/>
              <a:gd name="connsiteX7" fmla="*/ 1651979 w 5451576"/>
              <a:gd name="connsiteY7" fmla="*/ 3104541 h 5475208"/>
              <a:gd name="connsiteX8" fmla="*/ 1214534 w 5451576"/>
              <a:gd name="connsiteY8" fmla="*/ 3146874 h 5475208"/>
              <a:gd name="connsiteX9" fmla="*/ 1285090 w 5451576"/>
              <a:gd name="connsiteY9" fmla="*/ 3302097 h 5475208"/>
              <a:gd name="connsiteX10" fmla="*/ 269090 w 5451576"/>
              <a:gd name="connsiteY10" fmla="*/ 3499652 h 5475208"/>
              <a:gd name="connsiteX11" fmla="*/ 946423 w 5451576"/>
              <a:gd name="connsiteY11" fmla="*/ 3443208 h 5475208"/>
              <a:gd name="connsiteX12" fmla="*/ 325534 w 5451576"/>
              <a:gd name="connsiteY12" fmla="*/ 4064097 h 5475208"/>
              <a:gd name="connsiteX13" fmla="*/ 979 w 5451576"/>
              <a:gd name="connsiteY13" fmla="*/ 4572097 h 5475208"/>
              <a:gd name="connsiteX14" fmla="*/ 452534 w 5451576"/>
              <a:gd name="connsiteY14" fmla="*/ 4967208 h 5475208"/>
              <a:gd name="connsiteX15" fmla="*/ 1002868 w 5451576"/>
              <a:gd name="connsiteY15" fmla="*/ 5291763 h 5475208"/>
              <a:gd name="connsiteX16" fmla="*/ 1595534 w 5451576"/>
              <a:gd name="connsiteY16" fmla="*/ 5446985 h 5475208"/>
              <a:gd name="connsiteX17" fmla="*/ 2216423 w 5451576"/>
              <a:gd name="connsiteY17" fmla="*/ 5475208 h 5475208"/>
              <a:gd name="connsiteX18" fmla="*/ 2907868 w 5451576"/>
              <a:gd name="connsiteY18" fmla="*/ 5178873 h 5475208"/>
              <a:gd name="connsiteX19" fmla="*/ 3232424 w 5451576"/>
              <a:gd name="connsiteY19" fmla="*/ 4868430 h 5475208"/>
              <a:gd name="connsiteX20" fmla="*/ 3415867 w 5451576"/>
              <a:gd name="connsiteY20" fmla="*/ 4459208 h 5475208"/>
              <a:gd name="connsiteX21" fmla="*/ 3669867 w 5451576"/>
              <a:gd name="connsiteY21" fmla="*/ 4191097 h 5475208"/>
              <a:gd name="connsiteX22" fmla="*/ 3994423 w 5451576"/>
              <a:gd name="connsiteY22" fmla="*/ 3951208 h 5475208"/>
              <a:gd name="connsiteX23" fmla="*/ 4220201 w 5451576"/>
              <a:gd name="connsiteY23" fmla="*/ 3824208 h 5475208"/>
              <a:gd name="connsiteX24" fmla="*/ 4445979 w 5451576"/>
              <a:gd name="connsiteY24" fmla="*/ 3697208 h 5475208"/>
              <a:gd name="connsiteX25" fmla="*/ 4643534 w 5451576"/>
              <a:gd name="connsiteY25" fmla="*/ 3584319 h 5475208"/>
              <a:gd name="connsiteX26" fmla="*/ 4798756 w 5451576"/>
              <a:gd name="connsiteY26" fmla="*/ 3485541 h 5475208"/>
              <a:gd name="connsiteX27" fmla="*/ 5207979 w 5451576"/>
              <a:gd name="connsiteY27" fmla="*/ 3104541 h 5475208"/>
              <a:gd name="connsiteX28" fmla="*/ 5433756 w 5451576"/>
              <a:gd name="connsiteY28" fmla="*/ 2243763 h 5475208"/>
              <a:gd name="connsiteX29" fmla="*/ 5433757 w 5451576"/>
              <a:gd name="connsiteY29" fmla="*/ 1580540 h 5475208"/>
              <a:gd name="connsiteX30" fmla="*/ 5405534 w 5451576"/>
              <a:gd name="connsiteY30" fmla="*/ 1114875 h 5475208"/>
              <a:gd name="connsiteX31" fmla="*/ 5349090 w 5451576"/>
              <a:gd name="connsiteY31" fmla="*/ 832652 h 5475208"/>
              <a:gd name="connsiteX32" fmla="*/ 5278535 w 5451576"/>
              <a:gd name="connsiteY32" fmla="*/ 493985 h 5475208"/>
              <a:gd name="connsiteX33" fmla="*/ 5137422 w 5451576"/>
              <a:gd name="connsiteY33" fmla="*/ 239986 h 5475208"/>
              <a:gd name="connsiteX34" fmla="*/ 4629422 w 5451576"/>
              <a:gd name="connsiteY34" fmla="*/ 14207 h 5475208"/>
              <a:gd name="connsiteX35" fmla="*/ 4093201 w 5451576"/>
              <a:gd name="connsiteY35" fmla="*/ 42430 h 5475208"/>
              <a:gd name="connsiteX36" fmla="*/ 3683979 w 5451576"/>
              <a:gd name="connsiteY36" fmla="*/ 197652 h 5475208"/>
              <a:gd name="connsiteX37" fmla="*/ 3401756 w 5451576"/>
              <a:gd name="connsiteY37" fmla="*/ 381097 h 5475208"/>
              <a:gd name="connsiteX38" fmla="*/ 3246534 w 5451576"/>
              <a:gd name="connsiteY38" fmla="*/ 620985 h 5475208"/>
              <a:gd name="connsiteX0" fmla="*/ 3246534 w 5451576"/>
              <a:gd name="connsiteY0" fmla="*/ 620985 h 5475208"/>
              <a:gd name="connsiteX1" fmla="*/ 3133645 w 5451576"/>
              <a:gd name="connsiteY1" fmla="*/ 1100764 h 5475208"/>
              <a:gd name="connsiteX2" fmla="*/ 3048979 w 5451576"/>
              <a:gd name="connsiteY2" fmla="*/ 1749874 h 5475208"/>
              <a:gd name="connsiteX3" fmla="*/ 2964312 w 5451576"/>
              <a:gd name="connsiteY3" fmla="*/ 2144986 h 5475208"/>
              <a:gd name="connsiteX4" fmla="*/ 2780867 w 5451576"/>
              <a:gd name="connsiteY4" fmla="*/ 2525985 h 5475208"/>
              <a:gd name="connsiteX5" fmla="*/ 2258756 w 5451576"/>
              <a:gd name="connsiteY5" fmla="*/ 2963430 h 5475208"/>
              <a:gd name="connsiteX6" fmla="*/ 1962423 w 5451576"/>
              <a:gd name="connsiteY6" fmla="*/ 3062208 h 5475208"/>
              <a:gd name="connsiteX7" fmla="*/ 1651979 w 5451576"/>
              <a:gd name="connsiteY7" fmla="*/ 3104541 h 5475208"/>
              <a:gd name="connsiteX8" fmla="*/ 1214534 w 5451576"/>
              <a:gd name="connsiteY8" fmla="*/ 3146874 h 5475208"/>
              <a:gd name="connsiteX9" fmla="*/ 1285090 w 5451576"/>
              <a:gd name="connsiteY9" fmla="*/ 3302097 h 5475208"/>
              <a:gd name="connsiteX10" fmla="*/ 946423 w 5451576"/>
              <a:gd name="connsiteY10" fmla="*/ 3443208 h 5475208"/>
              <a:gd name="connsiteX11" fmla="*/ 325534 w 5451576"/>
              <a:gd name="connsiteY11" fmla="*/ 4064097 h 5475208"/>
              <a:gd name="connsiteX12" fmla="*/ 979 w 5451576"/>
              <a:gd name="connsiteY12" fmla="*/ 4572097 h 5475208"/>
              <a:gd name="connsiteX13" fmla="*/ 452534 w 5451576"/>
              <a:gd name="connsiteY13" fmla="*/ 4967208 h 5475208"/>
              <a:gd name="connsiteX14" fmla="*/ 1002868 w 5451576"/>
              <a:gd name="connsiteY14" fmla="*/ 5291763 h 5475208"/>
              <a:gd name="connsiteX15" fmla="*/ 1595534 w 5451576"/>
              <a:gd name="connsiteY15" fmla="*/ 5446985 h 5475208"/>
              <a:gd name="connsiteX16" fmla="*/ 2216423 w 5451576"/>
              <a:gd name="connsiteY16" fmla="*/ 5475208 h 5475208"/>
              <a:gd name="connsiteX17" fmla="*/ 2907868 w 5451576"/>
              <a:gd name="connsiteY17" fmla="*/ 5178873 h 5475208"/>
              <a:gd name="connsiteX18" fmla="*/ 3232424 w 5451576"/>
              <a:gd name="connsiteY18" fmla="*/ 4868430 h 5475208"/>
              <a:gd name="connsiteX19" fmla="*/ 3415867 w 5451576"/>
              <a:gd name="connsiteY19" fmla="*/ 4459208 h 5475208"/>
              <a:gd name="connsiteX20" fmla="*/ 3669867 w 5451576"/>
              <a:gd name="connsiteY20" fmla="*/ 4191097 h 5475208"/>
              <a:gd name="connsiteX21" fmla="*/ 3994423 w 5451576"/>
              <a:gd name="connsiteY21" fmla="*/ 3951208 h 5475208"/>
              <a:gd name="connsiteX22" fmla="*/ 4220201 w 5451576"/>
              <a:gd name="connsiteY22" fmla="*/ 3824208 h 5475208"/>
              <a:gd name="connsiteX23" fmla="*/ 4445979 w 5451576"/>
              <a:gd name="connsiteY23" fmla="*/ 3697208 h 5475208"/>
              <a:gd name="connsiteX24" fmla="*/ 4643534 w 5451576"/>
              <a:gd name="connsiteY24" fmla="*/ 3584319 h 5475208"/>
              <a:gd name="connsiteX25" fmla="*/ 4798756 w 5451576"/>
              <a:gd name="connsiteY25" fmla="*/ 3485541 h 5475208"/>
              <a:gd name="connsiteX26" fmla="*/ 5207979 w 5451576"/>
              <a:gd name="connsiteY26" fmla="*/ 3104541 h 5475208"/>
              <a:gd name="connsiteX27" fmla="*/ 5433756 w 5451576"/>
              <a:gd name="connsiteY27" fmla="*/ 2243763 h 5475208"/>
              <a:gd name="connsiteX28" fmla="*/ 5433757 w 5451576"/>
              <a:gd name="connsiteY28" fmla="*/ 1580540 h 5475208"/>
              <a:gd name="connsiteX29" fmla="*/ 5405534 w 5451576"/>
              <a:gd name="connsiteY29" fmla="*/ 1114875 h 5475208"/>
              <a:gd name="connsiteX30" fmla="*/ 5349090 w 5451576"/>
              <a:gd name="connsiteY30" fmla="*/ 832652 h 5475208"/>
              <a:gd name="connsiteX31" fmla="*/ 5278535 w 5451576"/>
              <a:gd name="connsiteY31" fmla="*/ 493985 h 5475208"/>
              <a:gd name="connsiteX32" fmla="*/ 5137422 w 5451576"/>
              <a:gd name="connsiteY32" fmla="*/ 239986 h 5475208"/>
              <a:gd name="connsiteX33" fmla="*/ 4629422 w 5451576"/>
              <a:gd name="connsiteY33" fmla="*/ 14207 h 5475208"/>
              <a:gd name="connsiteX34" fmla="*/ 4093201 w 5451576"/>
              <a:gd name="connsiteY34" fmla="*/ 42430 h 5475208"/>
              <a:gd name="connsiteX35" fmla="*/ 3683979 w 5451576"/>
              <a:gd name="connsiteY35" fmla="*/ 197652 h 5475208"/>
              <a:gd name="connsiteX36" fmla="*/ 3401756 w 5451576"/>
              <a:gd name="connsiteY36" fmla="*/ 381097 h 5475208"/>
              <a:gd name="connsiteX37" fmla="*/ 3246534 w 5451576"/>
              <a:gd name="connsiteY37" fmla="*/ 620985 h 5475208"/>
              <a:gd name="connsiteX0" fmla="*/ 3246534 w 5451576"/>
              <a:gd name="connsiteY0" fmla="*/ 620985 h 5475208"/>
              <a:gd name="connsiteX1" fmla="*/ 3133645 w 5451576"/>
              <a:gd name="connsiteY1" fmla="*/ 1100764 h 5475208"/>
              <a:gd name="connsiteX2" fmla="*/ 3048979 w 5451576"/>
              <a:gd name="connsiteY2" fmla="*/ 1749874 h 5475208"/>
              <a:gd name="connsiteX3" fmla="*/ 2964312 w 5451576"/>
              <a:gd name="connsiteY3" fmla="*/ 2144986 h 5475208"/>
              <a:gd name="connsiteX4" fmla="*/ 2780867 w 5451576"/>
              <a:gd name="connsiteY4" fmla="*/ 2525985 h 5475208"/>
              <a:gd name="connsiteX5" fmla="*/ 2258756 w 5451576"/>
              <a:gd name="connsiteY5" fmla="*/ 2963430 h 5475208"/>
              <a:gd name="connsiteX6" fmla="*/ 1962423 w 5451576"/>
              <a:gd name="connsiteY6" fmla="*/ 3062208 h 5475208"/>
              <a:gd name="connsiteX7" fmla="*/ 1651979 w 5451576"/>
              <a:gd name="connsiteY7" fmla="*/ 3104541 h 5475208"/>
              <a:gd name="connsiteX8" fmla="*/ 1285090 w 5451576"/>
              <a:gd name="connsiteY8" fmla="*/ 3302097 h 5475208"/>
              <a:gd name="connsiteX9" fmla="*/ 946423 w 5451576"/>
              <a:gd name="connsiteY9" fmla="*/ 3443208 h 5475208"/>
              <a:gd name="connsiteX10" fmla="*/ 325534 w 5451576"/>
              <a:gd name="connsiteY10" fmla="*/ 4064097 h 5475208"/>
              <a:gd name="connsiteX11" fmla="*/ 979 w 5451576"/>
              <a:gd name="connsiteY11" fmla="*/ 4572097 h 5475208"/>
              <a:gd name="connsiteX12" fmla="*/ 452534 w 5451576"/>
              <a:gd name="connsiteY12" fmla="*/ 4967208 h 5475208"/>
              <a:gd name="connsiteX13" fmla="*/ 1002868 w 5451576"/>
              <a:gd name="connsiteY13" fmla="*/ 5291763 h 5475208"/>
              <a:gd name="connsiteX14" fmla="*/ 1595534 w 5451576"/>
              <a:gd name="connsiteY14" fmla="*/ 5446985 h 5475208"/>
              <a:gd name="connsiteX15" fmla="*/ 2216423 w 5451576"/>
              <a:gd name="connsiteY15" fmla="*/ 5475208 h 5475208"/>
              <a:gd name="connsiteX16" fmla="*/ 2907868 w 5451576"/>
              <a:gd name="connsiteY16" fmla="*/ 5178873 h 5475208"/>
              <a:gd name="connsiteX17" fmla="*/ 3232424 w 5451576"/>
              <a:gd name="connsiteY17" fmla="*/ 4868430 h 5475208"/>
              <a:gd name="connsiteX18" fmla="*/ 3415867 w 5451576"/>
              <a:gd name="connsiteY18" fmla="*/ 4459208 h 5475208"/>
              <a:gd name="connsiteX19" fmla="*/ 3669867 w 5451576"/>
              <a:gd name="connsiteY19" fmla="*/ 4191097 h 5475208"/>
              <a:gd name="connsiteX20" fmla="*/ 3994423 w 5451576"/>
              <a:gd name="connsiteY20" fmla="*/ 3951208 h 5475208"/>
              <a:gd name="connsiteX21" fmla="*/ 4220201 w 5451576"/>
              <a:gd name="connsiteY21" fmla="*/ 3824208 h 5475208"/>
              <a:gd name="connsiteX22" fmla="*/ 4445979 w 5451576"/>
              <a:gd name="connsiteY22" fmla="*/ 3697208 h 5475208"/>
              <a:gd name="connsiteX23" fmla="*/ 4643534 w 5451576"/>
              <a:gd name="connsiteY23" fmla="*/ 3584319 h 5475208"/>
              <a:gd name="connsiteX24" fmla="*/ 4798756 w 5451576"/>
              <a:gd name="connsiteY24" fmla="*/ 3485541 h 5475208"/>
              <a:gd name="connsiteX25" fmla="*/ 5207979 w 5451576"/>
              <a:gd name="connsiteY25" fmla="*/ 3104541 h 5475208"/>
              <a:gd name="connsiteX26" fmla="*/ 5433756 w 5451576"/>
              <a:gd name="connsiteY26" fmla="*/ 2243763 h 5475208"/>
              <a:gd name="connsiteX27" fmla="*/ 5433757 w 5451576"/>
              <a:gd name="connsiteY27" fmla="*/ 1580540 h 5475208"/>
              <a:gd name="connsiteX28" fmla="*/ 5405534 w 5451576"/>
              <a:gd name="connsiteY28" fmla="*/ 1114875 h 5475208"/>
              <a:gd name="connsiteX29" fmla="*/ 5349090 w 5451576"/>
              <a:gd name="connsiteY29" fmla="*/ 832652 h 5475208"/>
              <a:gd name="connsiteX30" fmla="*/ 5278535 w 5451576"/>
              <a:gd name="connsiteY30" fmla="*/ 493985 h 5475208"/>
              <a:gd name="connsiteX31" fmla="*/ 5137422 w 5451576"/>
              <a:gd name="connsiteY31" fmla="*/ 239986 h 5475208"/>
              <a:gd name="connsiteX32" fmla="*/ 4629422 w 5451576"/>
              <a:gd name="connsiteY32" fmla="*/ 14207 h 5475208"/>
              <a:gd name="connsiteX33" fmla="*/ 4093201 w 5451576"/>
              <a:gd name="connsiteY33" fmla="*/ 42430 h 5475208"/>
              <a:gd name="connsiteX34" fmla="*/ 3683979 w 5451576"/>
              <a:gd name="connsiteY34" fmla="*/ 197652 h 5475208"/>
              <a:gd name="connsiteX35" fmla="*/ 3401756 w 5451576"/>
              <a:gd name="connsiteY35" fmla="*/ 381097 h 5475208"/>
              <a:gd name="connsiteX36" fmla="*/ 3246534 w 5451576"/>
              <a:gd name="connsiteY36" fmla="*/ 620985 h 5475208"/>
              <a:gd name="connsiteX0" fmla="*/ 3246534 w 5451576"/>
              <a:gd name="connsiteY0" fmla="*/ 620985 h 5475208"/>
              <a:gd name="connsiteX1" fmla="*/ 3133645 w 5451576"/>
              <a:gd name="connsiteY1" fmla="*/ 1100764 h 5475208"/>
              <a:gd name="connsiteX2" fmla="*/ 3048979 w 5451576"/>
              <a:gd name="connsiteY2" fmla="*/ 1749874 h 5475208"/>
              <a:gd name="connsiteX3" fmla="*/ 2964312 w 5451576"/>
              <a:gd name="connsiteY3" fmla="*/ 2144986 h 5475208"/>
              <a:gd name="connsiteX4" fmla="*/ 2780867 w 5451576"/>
              <a:gd name="connsiteY4" fmla="*/ 2525985 h 5475208"/>
              <a:gd name="connsiteX5" fmla="*/ 2258756 w 5451576"/>
              <a:gd name="connsiteY5" fmla="*/ 2963430 h 5475208"/>
              <a:gd name="connsiteX6" fmla="*/ 1962423 w 5451576"/>
              <a:gd name="connsiteY6" fmla="*/ 3062208 h 5475208"/>
              <a:gd name="connsiteX7" fmla="*/ 1651979 w 5451576"/>
              <a:gd name="connsiteY7" fmla="*/ 3104541 h 5475208"/>
              <a:gd name="connsiteX8" fmla="*/ 1256868 w 5451576"/>
              <a:gd name="connsiteY8" fmla="*/ 3245652 h 5475208"/>
              <a:gd name="connsiteX9" fmla="*/ 946423 w 5451576"/>
              <a:gd name="connsiteY9" fmla="*/ 3443208 h 5475208"/>
              <a:gd name="connsiteX10" fmla="*/ 325534 w 5451576"/>
              <a:gd name="connsiteY10" fmla="*/ 4064097 h 5475208"/>
              <a:gd name="connsiteX11" fmla="*/ 979 w 5451576"/>
              <a:gd name="connsiteY11" fmla="*/ 4572097 h 5475208"/>
              <a:gd name="connsiteX12" fmla="*/ 452534 w 5451576"/>
              <a:gd name="connsiteY12" fmla="*/ 4967208 h 5475208"/>
              <a:gd name="connsiteX13" fmla="*/ 1002868 w 5451576"/>
              <a:gd name="connsiteY13" fmla="*/ 5291763 h 5475208"/>
              <a:gd name="connsiteX14" fmla="*/ 1595534 w 5451576"/>
              <a:gd name="connsiteY14" fmla="*/ 5446985 h 5475208"/>
              <a:gd name="connsiteX15" fmla="*/ 2216423 w 5451576"/>
              <a:gd name="connsiteY15" fmla="*/ 5475208 h 5475208"/>
              <a:gd name="connsiteX16" fmla="*/ 2907868 w 5451576"/>
              <a:gd name="connsiteY16" fmla="*/ 5178873 h 5475208"/>
              <a:gd name="connsiteX17" fmla="*/ 3232424 w 5451576"/>
              <a:gd name="connsiteY17" fmla="*/ 4868430 h 5475208"/>
              <a:gd name="connsiteX18" fmla="*/ 3415867 w 5451576"/>
              <a:gd name="connsiteY18" fmla="*/ 4459208 h 5475208"/>
              <a:gd name="connsiteX19" fmla="*/ 3669867 w 5451576"/>
              <a:gd name="connsiteY19" fmla="*/ 4191097 h 5475208"/>
              <a:gd name="connsiteX20" fmla="*/ 3994423 w 5451576"/>
              <a:gd name="connsiteY20" fmla="*/ 3951208 h 5475208"/>
              <a:gd name="connsiteX21" fmla="*/ 4220201 w 5451576"/>
              <a:gd name="connsiteY21" fmla="*/ 3824208 h 5475208"/>
              <a:gd name="connsiteX22" fmla="*/ 4445979 w 5451576"/>
              <a:gd name="connsiteY22" fmla="*/ 3697208 h 5475208"/>
              <a:gd name="connsiteX23" fmla="*/ 4643534 w 5451576"/>
              <a:gd name="connsiteY23" fmla="*/ 3584319 h 5475208"/>
              <a:gd name="connsiteX24" fmla="*/ 4798756 w 5451576"/>
              <a:gd name="connsiteY24" fmla="*/ 3485541 h 5475208"/>
              <a:gd name="connsiteX25" fmla="*/ 5207979 w 5451576"/>
              <a:gd name="connsiteY25" fmla="*/ 3104541 h 5475208"/>
              <a:gd name="connsiteX26" fmla="*/ 5433756 w 5451576"/>
              <a:gd name="connsiteY26" fmla="*/ 2243763 h 5475208"/>
              <a:gd name="connsiteX27" fmla="*/ 5433757 w 5451576"/>
              <a:gd name="connsiteY27" fmla="*/ 1580540 h 5475208"/>
              <a:gd name="connsiteX28" fmla="*/ 5405534 w 5451576"/>
              <a:gd name="connsiteY28" fmla="*/ 1114875 h 5475208"/>
              <a:gd name="connsiteX29" fmla="*/ 5349090 w 5451576"/>
              <a:gd name="connsiteY29" fmla="*/ 832652 h 5475208"/>
              <a:gd name="connsiteX30" fmla="*/ 5278535 w 5451576"/>
              <a:gd name="connsiteY30" fmla="*/ 493985 h 5475208"/>
              <a:gd name="connsiteX31" fmla="*/ 5137422 w 5451576"/>
              <a:gd name="connsiteY31" fmla="*/ 239986 h 5475208"/>
              <a:gd name="connsiteX32" fmla="*/ 4629422 w 5451576"/>
              <a:gd name="connsiteY32" fmla="*/ 14207 h 5475208"/>
              <a:gd name="connsiteX33" fmla="*/ 4093201 w 5451576"/>
              <a:gd name="connsiteY33" fmla="*/ 42430 h 5475208"/>
              <a:gd name="connsiteX34" fmla="*/ 3683979 w 5451576"/>
              <a:gd name="connsiteY34" fmla="*/ 197652 h 5475208"/>
              <a:gd name="connsiteX35" fmla="*/ 3401756 w 5451576"/>
              <a:gd name="connsiteY35" fmla="*/ 381097 h 5475208"/>
              <a:gd name="connsiteX36" fmla="*/ 3246534 w 5451576"/>
              <a:gd name="connsiteY36" fmla="*/ 620985 h 5475208"/>
              <a:gd name="connsiteX0" fmla="*/ 2922155 w 5127197"/>
              <a:gd name="connsiteY0" fmla="*/ 620985 h 5475208"/>
              <a:gd name="connsiteX1" fmla="*/ 2809266 w 5127197"/>
              <a:gd name="connsiteY1" fmla="*/ 1100764 h 5475208"/>
              <a:gd name="connsiteX2" fmla="*/ 2724600 w 5127197"/>
              <a:gd name="connsiteY2" fmla="*/ 1749874 h 5475208"/>
              <a:gd name="connsiteX3" fmla="*/ 2639933 w 5127197"/>
              <a:gd name="connsiteY3" fmla="*/ 2144986 h 5475208"/>
              <a:gd name="connsiteX4" fmla="*/ 2456488 w 5127197"/>
              <a:gd name="connsiteY4" fmla="*/ 2525985 h 5475208"/>
              <a:gd name="connsiteX5" fmla="*/ 1934377 w 5127197"/>
              <a:gd name="connsiteY5" fmla="*/ 2963430 h 5475208"/>
              <a:gd name="connsiteX6" fmla="*/ 1638044 w 5127197"/>
              <a:gd name="connsiteY6" fmla="*/ 3062208 h 5475208"/>
              <a:gd name="connsiteX7" fmla="*/ 1327600 w 5127197"/>
              <a:gd name="connsiteY7" fmla="*/ 3104541 h 5475208"/>
              <a:gd name="connsiteX8" fmla="*/ 932489 w 5127197"/>
              <a:gd name="connsiteY8" fmla="*/ 3245652 h 5475208"/>
              <a:gd name="connsiteX9" fmla="*/ 622044 w 5127197"/>
              <a:gd name="connsiteY9" fmla="*/ 3443208 h 5475208"/>
              <a:gd name="connsiteX10" fmla="*/ 1155 w 5127197"/>
              <a:gd name="connsiteY10" fmla="*/ 4064097 h 5475208"/>
              <a:gd name="connsiteX11" fmla="*/ 170489 w 5127197"/>
              <a:gd name="connsiteY11" fmla="*/ 4445097 h 5475208"/>
              <a:gd name="connsiteX12" fmla="*/ 128155 w 5127197"/>
              <a:gd name="connsiteY12" fmla="*/ 4967208 h 5475208"/>
              <a:gd name="connsiteX13" fmla="*/ 678489 w 5127197"/>
              <a:gd name="connsiteY13" fmla="*/ 5291763 h 5475208"/>
              <a:gd name="connsiteX14" fmla="*/ 1271155 w 5127197"/>
              <a:gd name="connsiteY14" fmla="*/ 5446985 h 5475208"/>
              <a:gd name="connsiteX15" fmla="*/ 1892044 w 5127197"/>
              <a:gd name="connsiteY15" fmla="*/ 5475208 h 5475208"/>
              <a:gd name="connsiteX16" fmla="*/ 2583489 w 5127197"/>
              <a:gd name="connsiteY16" fmla="*/ 5178873 h 5475208"/>
              <a:gd name="connsiteX17" fmla="*/ 2908045 w 5127197"/>
              <a:gd name="connsiteY17" fmla="*/ 4868430 h 5475208"/>
              <a:gd name="connsiteX18" fmla="*/ 3091488 w 5127197"/>
              <a:gd name="connsiteY18" fmla="*/ 4459208 h 5475208"/>
              <a:gd name="connsiteX19" fmla="*/ 3345488 w 5127197"/>
              <a:gd name="connsiteY19" fmla="*/ 4191097 h 5475208"/>
              <a:gd name="connsiteX20" fmla="*/ 3670044 w 5127197"/>
              <a:gd name="connsiteY20" fmla="*/ 3951208 h 5475208"/>
              <a:gd name="connsiteX21" fmla="*/ 3895822 w 5127197"/>
              <a:gd name="connsiteY21" fmla="*/ 3824208 h 5475208"/>
              <a:gd name="connsiteX22" fmla="*/ 4121600 w 5127197"/>
              <a:gd name="connsiteY22" fmla="*/ 3697208 h 5475208"/>
              <a:gd name="connsiteX23" fmla="*/ 4319155 w 5127197"/>
              <a:gd name="connsiteY23" fmla="*/ 3584319 h 5475208"/>
              <a:gd name="connsiteX24" fmla="*/ 4474377 w 5127197"/>
              <a:gd name="connsiteY24" fmla="*/ 3485541 h 5475208"/>
              <a:gd name="connsiteX25" fmla="*/ 4883600 w 5127197"/>
              <a:gd name="connsiteY25" fmla="*/ 3104541 h 5475208"/>
              <a:gd name="connsiteX26" fmla="*/ 5109377 w 5127197"/>
              <a:gd name="connsiteY26" fmla="*/ 2243763 h 5475208"/>
              <a:gd name="connsiteX27" fmla="*/ 5109378 w 5127197"/>
              <a:gd name="connsiteY27" fmla="*/ 1580540 h 5475208"/>
              <a:gd name="connsiteX28" fmla="*/ 5081155 w 5127197"/>
              <a:gd name="connsiteY28" fmla="*/ 1114875 h 5475208"/>
              <a:gd name="connsiteX29" fmla="*/ 5024711 w 5127197"/>
              <a:gd name="connsiteY29" fmla="*/ 832652 h 5475208"/>
              <a:gd name="connsiteX30" fmla="*/ 4954156 w 5127197"/>
              <a:gd name="connsiteY30" fmla="*/ 493985 h 5475208"/>
              <a:gd name="connsiteX31" fmla="*/ 4813043 w 5127197"/>
              <a:gd name="connsiteY31" fmla="*/ 239986 h 5475208"/>
              <a:gd name="connsiteX32" fmla="*/ 4305043 w 5127197"/>
              <a:gd name="connsiteY32" fmla="*/ 14207 h 5475208"/>
              <a:gd name="connsiteX33" fmla="*/ 3768822 w 5127197"/>
              <a:gd name="connsiteY33" fmla="*/ 42430 h 5475208"/>
              <a:gd name="connsiteX34" fmla="*/ 3359600 w 5127197"/>
              <a:gd name="connsiteY34" fmla="*/ 197652 h 5475208"/>
              <a:gd name="connsiteX35" fmla="*/ 3077377 w 5127197"/>
              <a:gd name="connsiteY35" fmla="*/ 381097 h 5475208"/>
              <a:gd name="connsiteX36" fmla="*/ 2922155 w 5127197"/>
              <a:gd name="connsiteY36" fmla="*/ 620985 h 5475208"/>
              <a:gd name="connsiteX0" fmla="*/ 2826754 w 5031796"/>
              <a:gd name="connsiteY0" fmla="*/ 620985 h 5475208"/>
              <a:gd name="connsiteX1" fmla="*/ 2713865 w 5031796"/>
              <a:gd name="connsiteY1" fmla="*/ 1100764 h 5475208"/>
              <a:gd name="connsiteX2" fmla="*/ 2629199 w 5031796"/>
              <a:gd name="connsiteY2" fmla="*/ 1749874 h 5475208"/>
              <a:gd name="connsiteX3" fmla="*/ 2544532 w 5031796"/>
              <a:gd name="connsiteY3" fmla="*/ 2144986 h 5475208"/>
              <a:gd name="connsiteX4" fmla="*/ 2361087 w 5031796"/>
              <a:gd name="connsiteY4" fmla="*/ 2525985 h 5475208"/>
              <a:gd name="connsiteX5" fmla="*/ 1838976 w 5031796"/>
              <a:gd name="connsiteY5" fmla="*/ 2963430 h 5475208"/>
              <a:gd name="connsiteX6" fmla="*/ 1542643 w 5031796"/>
              <a:gd name="connsiteY6" fmla="*/ 3062208 h 5475208"/>
              <a:gd name="connsiteX7" fmla="*/ 1232199 w 5031796"/>
              <a:gd name="connsiteY7" fmla="*/ 3104541 h 5475208"/>
              <a:gd name="connsiteX8" fmla="*/ 837088 w 5031796"/>
              <a:gd name="connsiteY8" fmla="*/ 3245652 h 5475208"/>
              <a:gd name="connsiteX9" fmla="*/ 526643 w 5031796"/>
              <a:gd name="connsiteY9" fmla="*/ 3443208 h 5475208"/>
              <a:gd name="connsiteX10" fmla="*/ 173865 w 5031796"/>
              <a:gd name="connsiteY10" fmla="*/ 4021763 h 5475208"/>
              <a:gd name="connsiteX11" fmla="*/ 75088 w 5031796"/>
              <a:gd name="connsiteY11" fmla="*/ 4445097 h 5475208"/>
              <a:gd name="connsiteX12" fmla="*/ 32754 w 5031796"/>
              <a:gd name="connsiteY12" fmla="*/ 4967208 h 5475208"/>
              <a:gd name="connsiteX13" fmla="*/ 583088 w 5031796"/>
              <a:gd name="connsiteY13" fmla="*/ 5291763 h 5475208"/>
              <a:gd name="connsiteX14" fmla="*/ 1175754 w 5031796"/>
              <a:gd name="connsiteY14" fmla="*/ 5446985 h 5475208"/>
              <a:gd name="connsiteX15" fmla="*/ 1796643 w 5031796"/>
              <a:gd name="connsiteY15" fmla="*/ 5475208 h 5475208"/>
              <a:gd name="connsiteX16" fmla="*/ 2488088 w 5031796"/>
              <a:gd name="connsiteY16" fmla="*/ 5178873 h 5475208"/>
              <a:gd name="connsiteX17" fmla="*/ 2812644 w 5031796"/>
              <a:gd name="connsiteY17" fmla="*/ 4868430 h 5475208"/>
              <a:gd name="connsiteX18" fmla="*/ 2996087 w 5031796"/>
              <a:gd name="connsiteY18" fmla="*/ 4459208 h 5475208"/>
              <a:gd name="connsiteX19" fmla="*/ 3250087 w 5031796"/>
              <a:gd name="connsiteY19" fmla="*/ 4191097 h 5475208"/>
              <a:gd name="connsiteX20" fmla="*/ 3574643 w 5031796"/>
              <a:gd name="connsiteY20" fmla="*/ 3951208 h 5475208"/>
              <a:gd name="connsiteX21" fmla="*/ 3800421 w 5031796"/>
              <a:gd name="connsiteY21" fmla="*/ 3824208 h 5475208"/>
              <a:gd name="connsiteX22" fmla="*/ 4026199 w 5031796"/>
              <a:gd name="connsiteY22" fmla="*/ 3697208 h 5475208"/>
              <a:gd name="connsiteX23" fmla="*/ 4223754 w 5031796"/>
              <a:gd name="connsiteY23" fmla="*/ 3584319 h 5475208"/>
              <a:gd name="connsiteX24" fmla="*/ 4378976 w 5031796"/>
              <a:gd name="connsiteY24" fmla="*/ 3485541 h 5475208"/>
              <a:gd name="connsiteX25" fmla="*/ 4788199 w 5031796"/>
              <a:gd name="connsiteY25" fmla="*/ 3104541 h 5475208"/>
              <a:gd name="connsiteX26" fmla="*/ 5013976 w 5031796"/>
              <a:gd name="connsiteY26" fmla="*/ 2243763 h 5475208"/>
              <a:gd name="connsiteX27" fmla="*/ 5013977 w 5031796"/>
              <a:gd name="connsiteY27" fmla="*/ 1580540 h 5475208"/>
              <a:gd name="connsiteX28" fmla="*/ 4985754 w 5031796"/>
              <a:gd name="connsiteY28" fmla="*/ 1114875 h 5475208"/>
              <a:gd name="connsiteX29" fmla="*/ 4929310 w 5031796"/>
              <a:gd name="connsiteY29" fmla="*/ 832652 h 5475208"/>
              <a:gd name="connsiteX30" fmla="*/ 4858755 w 5031796"/>
              <a:gd name="connsiteY30" fmla="*/ 493985 h 5475208"/>
              <a:gd name="connsiteX31" fmla="*/ 4717642 w 5031796"/>
              <a:gd name="connsiteY31" fmla="*/ 239986 h 5475208"/>
              <a:gd name="connsiteX32" fmla="*/ 4209642 w 5031796"/>
              <a:gd name="connsiteY32" fmla="*/ 14207 h 5475208"/>
              <a:gd name="connsiteX33" fmla="*/ 3673421 w 5031796"/>
              <a:gd name="connsiteY33" fmla="*/ 42430 h 5475208"/>
              <a:gd name="connsiteX34" fmla="*/ 3264199 w 5031796"/>
              <a:gd name="connsiteY34" fmla="*/ 197652 h 5475208"/>
              <a:gd name="connsiteX35" fmla="*/ 2981976 w 5031796"/>
              <a:gd name="connsiteY35" fmla="*/ 381097 h 5475208"/>
              <a:gd name="connsiteX36" fmla="*/ 2826754 w 5031796"/>
              <a:gd name="connsiteY36" fmla="*/ 620985 h 5475208"/>
              <a:gd name="connsiteX0" fmla="*/ 2752062 w 4957104"/>
              <a:gd name="connsiteY0" fmla="*/ 620985 h 5475208"/>
              <a:gd name="connsiteX1" fmla="*/ 2639173 w 4957104"/>
              <a:gd name="connsiteY1" fmla="*/ 1100764 h 5475208"/>
              <a:gd name="connsiteX2" fmla="*/ 2554507 w 4957104"/>
              <a:gd name="connsiteY2" fmla="*/ 1749874 h 5475208"/>
              <a:gd name="connsiteX3" fmla="*/ 2469840 w 4957104"/>
              <a:gd name="connsiteY3" fmla="*/ 2144986 h 5475208"/>
              <a:gd name="connsiteX4" fmla="*/ 2286395 w 4957104"/>
              <a:gd name="connsiteY4" fmla="*/ 2525985 h 5475208"/>
              <a:gd name="connsiteX5" fmla="*/ 1764284 w 4957104"/>
              <a:gd name="connsiteY5" fmla="*/ 2963430 h 5475208"/>
              <a:gd name="connsiteX6" fmla="*/ 1467951 w 4957104"/>
              <a:gd name="connsiteY6" fmla="*/ 3062208 h 5475208"/>
              <a:gd name="connsiteX7" fmla="*/ 1157507 w 4957104"/>
              <a:gd name="connsiteY7" fmla="*/ 3104541 h 5475208"/>
              <a:gd name="connsiteX8" fmla="*/ 762396 w 4957104"/>
              <a:gd name="connsiteY8" fmla="*/ 3245652 h 5475208"/>
              <a:gd name="connsiteX9" fmla="*/ 451951 w 4957104"/>
              <a:gd name="connsiteY9" fmla="*/ 3443208 h 5475208"/>
              <a:gd name="connsiteX10" fmla="*/ 99173 w 4957104"/>
              <a:gd name="connsiteY10" fmla="*/ 4021763 h 5475208"/>
              <a:gd name="connsiteX11" fmla="*/ 396 w 4957104"/>
              <a:gd name="connsiteY11" fmla="*/ 4445097 h 5475208"/>
              <a:gd name="connsiteX12" fmla="*/ 141507 w 4957104"/>
              <a:gd name="connsiteY12" fmla="*/ 4938986 h 5475208"/>
              <a:gd name="connsiteX13" fmla="*/ 508396 w 4957104"/>
              <a:gd name="connsiteY13" fmla="*/ 5291763 h 5475208"/>
              <a:gd name="connsiteX14" fmla="*/ 1101062 w 4957104"/>
              <a:gd name="connsiteY14" fmla="*/ 5446985 h 5475208"/>
              <a:gd name="connsiteX15" fmla="*/ 1721951 w 4957104"/>
              <a:gd name="connsiteY15" fmla="*/ 5475208 h 5475208"/>
              <a:gd name="connsiteX16" fmla="*/ 2413396 w 4957104"/>
              <a:gd name="connsiteY16" fmla="*/ 5178873 h 5475208"/>
              <a:gd name="connsiteX17" fmla="*/ 2737952 w 4957104"/>
              <a:gd name="connsiteY17" fmla="*/ 4868430 h 5475208"/>
              <a:gd name="connsiteX18" fmla="*/ 2921395 w 4957104"/>
              <a:gd name="connsiteY18" fmla="*/ 4459208 h 5475208"/>
              <a:gd name="connsiteX19" fmla="*/ 3175395 w 4957104"/>
              <a:gd name="connsiteY19" fmla="*/ 4191097 h 5475208"/>
              <a:gd name="connsiteX20" fmla="*/ 3499951 w 4957104"/>
              <a:gd name="connsiteY20" fmla="*/ 3951208 h 5475208"/>
              <a:gd name="connsiteX21" fmla="*/ 3725729 w 4957104"/>
              <a:gd name="connsiteY21" fmla="*/ 3824208 h 5475208"/>
              <a:gd name="connsiteX22" fmla="*/ 3951507 w 4957104"/>
              <a:gd name="connsiteY22" fmla="*/ 3697208 h 5475208"/>
              <a:gd name="connsiteX23" fmla="*/ 4149062 w 4957104"/>
              <a:gd name="connsiteY23" fmla="*/ 3584319 h 5475208"/>
              <a:gd name="connsiteX24" fmla="*/ 4304284 w 4957104"/>
              <a:gd name="connsiteY24" fmla="*/ 3485541 h 5475208"/>
              <a:gd name="connsiteX25" fmla="*/ 4713507 w 4957104"/>
              <a:gd name="connsiteY25" fmla="*/ 3104541 h 5475208"/>
              <a:gd name="connsiteX26" fmla="*/ 4939284 w 4957104"/>
              <a:gd name="connsiteY26" fmla="*/ 2243763 h 5475208"/>
              <a:gd name="connsiteX27" fmla="*/ 4939285 w 4957104"/>
              <a:gd name="connsiteY27" fmla="*/ 1580540 h 5475208"/>
              <a:gd name="connsiteX28" fmla="*/ 4911062 w 4957104"/>
              <a:gd name="connsiteY28" fmla="*/ 1114875 h 5475208"/>
              <a:gd name="connsiteX29" fmla="*/ 4854618 w 4957104"/>
              <a:gd name="connsiteY29" fmla="*/ 832652 h 5475208"/>
              <a:gd name="connsiteX30" fmla="*/ 4784063 w 4957104"/>
              <a:gd name="connsiteY30" fmla="*/ 493985 h 5475208"/>
              <a:gd name="connsiteX31" fmla="*/ 4642950 w 4957104"/>
              <a:gd name="connsiteY31" fmla="*/ 239986 h 5475208"/>
              <a:gd name="connsiteX32" fmla="*/ 4134950 w 4957104"/>
              <a:gd name="connsiteY32" fmla="*/ 14207 h 5475208"/>
              <a:gd name="connsiteX33" fmla="*/ 3598729 w 4957104"/>
              <a:gd name="connsiteY33" fmla="*/ 42430 h 5475208"/>
              <a:gd name="connsiteX34" fmla="*/ 3189507 w 4957104"/>
              <a:gd name="connsiteY34" fmla="*/ 197652 h 5475208"/>
              <a:gd name="connsiteX35" fmla="*/ 2907284 w 4957104"/>
              <a:gd name="connsiteY35" fmla="*/ 381097 h 5475208"/>
              <a:gd name="connsiteX36" fmla="*/ 2752062 w 4957104"/>
              <a:gd name="connsiteY36" fmla="*/ 620985 h 5475208"/>
              <a:gd name="connsiteX0" fmla="*/ 2751703 w 4956745"/>
              <a:gd name="connsiteY0" fmla="*/ 620985 h 5475208"/>
              <a:gd name="connsiteX1" fmla="*/ 2638814 w 4956745"/>
              <a:gd name="connsiteY1" fmla="*/ 1100764 h 5475208"/>
              <a:gd name="connsiteX2" fmla="*/ 2554148 w 4956745"/>
              <a:gd name="connsiteY2" fmla="*/ 1749874 h 5475208"/>
              <a:gd name="connsiteX3" fmla="*/ 2469481 w 4956745"/>
              <a:gd name="connsiteY3" fmla="*/ 2144986 h 5475208"/>
              <a:gd name="connsiteX4" fmla="*/ 2286036 w 4956745"/>
              <a:gd name="connsiteY4" fmla="*/ 2525985 h 5475208"/>
              <a:gd name="connsiteX5" fmla="*/ 1763925 w 4956745"/>
              <a:gd name="connsiteY5" fmla="*/ 2963430 h 5475208"/>
              <a:gd name="connsiteX6" fmla="*/ 1467592 w 4956745"/>
              <a:gd name="connsiteY6" fmla="*/ 3062208 h 5475208"/>
              <a:gd name="connsiteX7" fmla="*/ 1157148 w 4956745"/>
              <a:gd name="connsiteY7" fmla="*/ 3104541 h 5475208"/>
              <a:gd name="connsiteX8" fmla="*/ 762037 w 4956745"/>
              <a:gd name="connsiteY8" fmla="*/ 3245652 h 5475208"/>
              <a:gd name="connsiteX9" fmla="*/ 451592 w 4956745"/>
              <a:gd name="connsiteY9" fmla="*/ 3443208 h 5475208"/>
              <a:gd name="connsiteX10" fmla="*/ 127036 w 4956745"/>
              <a:gd name="connsiteY10" fmla="*/ 4021763 h 5475208"/>
              <a:gd name="connsiteX11" fmla="*/ 37 w 4956745"/>
              <a:gd name="connsiteY11" fmla="*/ 4445097 h 5475208"/>
              <a:gd name="connsiteX12" fmla="*/ 141148 w 4956745"/>
              <a:gd name="connsiteY12" fmla="*/ 4938986 h 5475208"/>
              <a:gd name="connsiteX13" fmla="*/ 508037 w 4956745"/>
              <a:gd name="connsiteY13" fmla="*/ 5291763 h 5475208"/>
              <a:gd name="connsiteX14" fmla="*/ 1100703 w 4956745"/>
              <a:gd name="connsiteY14" fmla="*/ 5446985 h 5475208"/>
              <a:gd name="connsiteX15" fmla="*/ 1721592 w 4956745"/>
              <a:gd name="connsiteY15" fmla="*/ 5475208 h 5475208"/>
              <a:gd name="connsiteX16" fmla="*/ 2413037 w 4956745"/>
              <a:gd name="connsiteY16" fmla="*/ 5178873 h 5475208"/>
              <a:gd name="connsiteX17" fmla="*/ 2737593 w 4956745"/>
              <a:gd name="connsiteY17" fmla="*/ 4868430 h 5475208"/>
              <a:gd name="connsiteX18" fmla="*/ 2921036 w 4956745"/>
              <a:gd name="connsiteY18" fmla="*/ 4459208 h 5475208"/>
              <a:gd name="connsiteX19" fmla="*/ 3175036 w 4956745"/>
              <a:gd name="connsiteY19" fmla="*/ 4191097 h 5475208"/>
              <a:gd name="connsiteX20" fmla="*/ 3499592 w 4956745"/>
              <a:gd name="connsiteY20" fmla="*/ 3951208 h 5475208"/>
              <a:gd name="connsiteX21" fmla="*/ 3725370 w 4956745"/>
              <a:gd name="connsiteY21" fmla="*/ 3824208 h 5475208"/>
              <a:gd name="connsiteX22" fmla="*/ 3951148 w 4956745"/>
              <a:gd name="connsiteY22" fmla="*/ 3697208 h 5475208"/>
              <a:gd name="connsiteX23" fmla="*/ 4148703 w 4956745"/>
              <a:gd name="connsiteY23" fmla="*/ 3584319 h 5475208"/>
              <a:gd name="connsiteX24" fmla="*/ 4303925 w 4956745"/>
              <a:gd name="connsiteY24" fmla="*/ 3485541 h 5475208"/>
              <a:gd name="connsiteX25" fmla="*/ 4713148 w 4956745"/>
              <a:gd name="connsiteY25" fmla="*/ 3104541 h 5475208"/>
              <a:gd name="connsiteX26" fmla="*/ 4938925 w 4956745"/>
              <a:gd name="connsiteY26" fmla="*/ 2243763 h 5475208"/>
              <a:gd name="connsiteX27" fmla="*/ 4938926 w 4956745"/>
              <a:gd name="connsiteY27" fmla="*/ 1580540 h 5475208"/>
              <a:gd name="connsiteX28" fmla="*/ 4910703 w 4956745"/>
              <a:gd name="connsiteY28" fmla="*/ 1114875 h 5475208"/>
              <a:gd name="connsiteX29" fmla="*/ 4854259 w 4956745"/>
              <a:gd name="connsiteY29" fmla="*/ 832652 h 5475208"/>
              <a:gd name="connsiteX30" fmla="*/ 4783704 w 4956745"/>
              <a:gd name="connsiteY30" fmla="*/ 493985 h 5475208"/>
              <a:gd name="connsiteX31" fmla="*/ 4642591 w 4956745"/>
              <a:gd name="connsiteY31" fmla="*/ 239986 h 5475208"/>
              <a:gd name="connsiteX32" fmla="*/ 4134591 w 4956745"/>
              <a:gd name="connsiteY32" fmla="*/ 14207 h 5475208"/>
              <a:gd name="connsiteX33" fmla="*/ 3598370 w 4956745"/>
              <a:gd name="connsiteY33" fmla="*/ 42430 h 5475208"/>
              <a:gd name="connsiteX34" fmla="*/ 3189148 w 4956745"/>
              <a:gd name="connsiteY34" fmla="*/ 197652 h 5475208"/>
              <a:gd name="connsiteX35" fmla="*/ 2906925 w 4956745"/>
              <a:gd name="connsiteY35" fmla="*/ 381097 h 5475208"/>
              <a:gd name="connsiteX36" fmla="*/ 2751703 w 4956745"/>
              <a:gd name="connsiteY36" fmla="*/ 620985 h 5475208"/>
              <a:gd name="connsiteX0" fmla="*/ 2751703 w 4956745"/>
              <a:gd name="connsiteY0" fmla="*/ 620985 h 5475208"/>
              <a:gd name="connsiteX1" fmla="*/ 2638814 w 4956745"/>
              <a:gd name="connsiteY1" fmla="*/ 1100764 h 5475208"/>
              <a:gd name="connsiteX2" fmla="*/ 2554148 w 4956745"/>
              <a:gd name="connsiteY2" fmla="*/ 1749874 h 5475208"/>
              <a:gd name="connsiteX3" fmla="*/ 2469481 w 4956745"/>
              <a:gd name="connsiteY3" fmla="*/ 2144986 h 5475208"/>
              <a:gd name="connsiteX4" fmla="*/ 2286036 w 4956745"/>
              <a:gd name="connsiteY4" fmla="*/ 2525985 h 5475208"/>
              <a:gd name="connsiteX5" fmla="*/ 1763925 w 4956745"/>
              <a:gd name="connsiteY5" fmla="*/ 2963430 h 5475208"/>
              <a:gd name="connsiteX6" fmla="*/ 1467592 w 4956745"/>
              <a:gd name="connsiteY6" fmla="*/ 3062208 h 5475208"/>
              <a:gd name="connsiteX7" fmla="*/ 1157148 w 4956745"/>
              <a:gd name="connsiteY7" fmla="*/ 3104541 h 5475208"/>
              <a:gd name="connsiteX8" fmla="*/ 762037 w 4956745"/>
              <a:gd name="connsiteY8" fmla="*/ 3245652 h 5475208"/>
              <a:gd name="connsiteX9" fmla="*/ 451592 w 4956745"/>
              <a:gd name="connsiteY9" fmla="*/ 3443208 h 5475208"/>
              <a:gd name="connsiteX10" fmla="*/ 127036 w 4956745"/>
              <a:gd name="connsiteY10" fmla="*/ 4021763 h 5475208"/>
              <a:gd name="connsiteX11" fmla="*/ 37 w 4956745"/>
              <a:gd name="connsiteY11" fmla="*/ 4445097 h 5475208"/>
              <a:gd name="connsiteX12" fmla="*/ 141148 w 4956745"/>
              <a:gd name="connsiteY12" fmla="*/ 4938986 h 5475208"/>
              <a:gd name="connsiteX13" fmla="*/ 508037 w 4956745"/>
              <a:gd name="connsiteY13" fmla="*/ 5291763 h 5475208"/>
              <a:gd name="connsiteX14" fmla="*/ 1100703 w 4956745"/>
              <a:gd name="connsiteY14" fmla="*/ 5446985 h 5475208"/>
              <a:gd name="connsiteX15" fmla="*/ 1721592 w 4956745"/>
              <a:gd name="connsiteY15" fmla="*/ 5475208 h 5475208"/>
              <a:gd name="connsiteX16" fmla="*/ 2413037 w 4956745"/>
              <a:gd name="connsiteY16" fmla="*/ 5178873 h 5475208"/>
              <a:gd name="connsiteX17" fmla="*/ 2737593 w 4956745"/>
              <a:gd name="connsiteY17" fmla="*/ 4868430 h 5475208"/>
              <a:gd name="connsiteX18" fmla="*/ 2921036 w 4956745"/>
              <a:gd name="connsiteY18" fmla="*/ 4459208 h 5475208"/>
              <a:gd name="connsiteX19" fmla="*/ 3175036 w 4956745"/>
              <a:gd name="connsiteY19" fmla="*/ 4191097 h 5475208"/>
              <a:gd name="connsiteX20" fmla="*/ 3499592 w 4956745"/>
              <a:gd name="connsiteY20" fmla="*/ 3951208 h 5475208"/>
              <a:gd name="connsiteX21" fmla="*/ 3725370 w 4956745"/>
              <a:gd name="connsiteY21" fmla="*/ 3824208 h 5475208"/>
              <a:gd name="connsiteX22" fmla="*/ 3951148 w 4956745"/>
              <a:gd name="connsiteY22" fmla="*/ 3697208 h 5475208"/>
              <a:gd name="connsiteX23" fmla="*/ 4148703 w 4956745"/>
              <a:gd name="connsiteY23" fmla="*/ 3584319 h 5475208"/>
              <a:gd name="connsiteX24" fmla="*/ 4303925 w 4956745"/>
              <a:gd name="connsiteY24" fmla="*/ 3485541 h 5475208"/>
              <a:gd name="connsiteX25" fmla="*/ 4713148 w 4956745"/>
              <a:gd name="connsiteY25" fmla="*/ 3104541 h 5475208"/>
              <a:gd name="connsiteX26" fmla="*/ 4938925 w 4956745"/>
              <a:gd name="connsiteY26" fmla="*/ 2243763 h 5475208"/>
              <a:gd name="connsiteX27" fmla="*/ 4938926 w 4956745"/>
              <a:gd name="connsiteY27" fmla="*/ 1580540 h 5475208"/>
              <a:gd name="connsiteX28" fmla="*/ 4910703 w 4956745"/>
              <a:gd name="connsiteY28" fmla="*/ 1114875 h 5475208"/>
              <a:gd name="connsiteX29" fmla="*/ 4854259 w 4956745"/>
              <a:gd name="connsiteY29" fmla="*/ 832652 h 5475208"/>
              <a:gd name="connsiteX30" fmla="*/ 4783704 w 4956745"/>
              <a:gd name="connsiteY30" fmla="*/ 493985 h 5475208"/>
              <a:gd name="connsiteX31" fmla="*/ 4642591 w 4956745"/>
              <a:gd name="connsiteY31" fmla="*/ 239986 h 5475208"/>
              <a:gd name="connsiteX32" fmla="*/ 4134591 w 4956745"/>
              <a:gd name="connsiteY32" fmla="*/ 14207 h 5475208"/>
              <a:gd name="connsiteX33" fmla="*/ 3598370 w 4956745"/>
              <a:gd name="connsiteY33" fmla="*/ 42430 h 5475208"/>
              <a:gd name="connsiteX34" fmla="*/ 3189148 w 4956745"/>
              <a:gd name="connsiteY34" fmla="*/ 197652 h 5475208"/>
              <a:gd name="connsiteX35" fmla="*/ 2906925 w 4956745"/>
              <a:gd name="connsiteY35" fmla="*/ 381097 h 5475208"/>
              <a:gd name="connsiteX36" fmla="*/ 2751703 w 4956745"/>
              <a:gd name="connsiteY36" fmla="*/ 620985 h 5475208"/>
              <a:gd name="connsiteX0" fmla="*/ 2765131 w 4970173"/>
              <a:gd name="connsiteY0" fmla="*/ 620985 h 5475208"/>
              <a:gd name="connsiteX1" fmla="*/ 2652242 w 4970173"/>
              <a:gd name="connsiteY1" fmla="*/ 1100764 h 5475208"/>
              <a:gd name="connsiteX2" fmla="*/ 2567576 w 4970173"/>
              <a:gd name="connsiteY2" fmla="*/ 1749874 h 5475208"/>
              <a:gd name="connsiteX3" fmla="*/ 2482909 w 4970173"/>
              <a:gd name="connsiteY3" fmla="*/ 2144986 h 5475208"/>
              <a:gd name="connsiteX4" fmla="*/ 2299464 w 4970173"/>
              <a:gd name="connsiteY4" fmla="*/ 2525985 h 5475208"/>
              <a:gd name="connsiteX5" fmla="*/ 1777353 w 4970173"/>
              <a:gd name="connsiteY5" fmla="*/ 2963430 h 5475208"/>
              <a:gd name="connsiteX6" fmla="*/ 1481020 w 4970173"/>
              <a:gd name="connsiteY6" fmla="*/ 3062208 h 5475208"/>
              <a:gd name="connsiteX7" fmla="*/ 1170576 w 4970173"/>
              <a:gd name="connsiteY7" fmla="*/ 3104541 h 5475208"/>
              <a:gd name="connsiteX8" fmla="*/ 775465 w 4970173"/>
              <a:gd name="connsiteY8" fmla="*/ 3245652 h 5475208"/>
              <a:gd name="connsiteX9" fmla="*/ 465020 w 4970173"/>
              <a:gd name="connsiteY9" fmla="*/ 3443208 h 5475208"/>
              <a:gd name="connsiteX10" fmla="*/ 13465 w 4970173"/>
              <a:gd name="connsiteY10" fmla="*/ 4445097 h 5475208"/>
              <a:gd name="connsiteX11" fmla="*/ 154576 w 4970173"/>
              <a:gd name="connsiteY11" fmla="*/ 4938986 h 5475208"/>
              <a:gd name="connsiteX12" fmla="*/ 521465 w 4970173"/>
              <a:gd name="connsiteY12" fmla="*/ 5291763 h 5475208"/>
              <a:gd name="connsiteX13" fmla="*/ 1114131 w 4970173"/>
              <a:gd name="connsiteY13" fmla="*/ 5446985 h 5475208"/>
              <a:gd name="connsiteX14" fmla="*/ 1735020 w 4970173"/>
              <a:gd name="connsiteY14" fmla="*/ 5475208 h 5475208"/>
              <a:gd name="connsiteX15" fmla="*/ 2426465 w 4970173"/>
              <a:gd name="connsiteY15" fmla="*/ 5178873 h 5475208"/>
              <a:gd name="connsiteX16" fmla="*/ 2751021 w 4970173"/>
              <a:gd name="connsiteY16" fmla="*/ 4868430 h 5475208"/>
              <a:gd name="connsiteX17" fmla="*/ 2934464 w 4970173"/>
              <a:gd name="connsiteY17" fmla="*/ 4459208 h 5475208"/>
              <a:gd name="connsiteX18" fmla="*/ 3188464 w 4970173"/>
              <a:gd name="connsiteY18" fmla="*/ 4191097 h 5475208"/>
              <a:gd name="connsiteX19" fmla="*/ 3513020 w 4970173"/>
              <a:gd name="connsiteY19" fmla="*/ 3951208 h 5475208"/>
              <a:gd name="connsiteX20" fmla="*/ 3738798 w 4970173"/>
              <a:gd name="connsiteY20" fmla="*/ 3824208 h 5475208"/>
              <a:gd name="connsiteX21" fmla="*/ 3964576 w 4970173"/>
              <a:gd name="connsiteY21" fmla="*/ 3697208 h 5475208"/>
              <a:gd name="connsiteX22" fmla="*/ 4162131 w 4970173"/>
              <a:gd name="connsiteY22" fmla="*/ 3584319 h 5475208"/>
              <a:gd name="connsiteX23" fmla="*/ 4317353 w 4970173"/>
              <a:gd name="connsiteY23" fmla="*/ 3485541 h 5475208"/>
              <a:gd name="connsiteX24" fmla="*/ 4726576 w 4970173"/>
              <a:gd name="connsiteY24" fmla="*/ 3104541 h 5475208"/>
              <a:gd name="connsiteX25" fmla="*/ 4952353 w 4970173"/>
              <a:gd name="connsiteY25" fmla="*/ 2243763 h 5475208"/>
              <a:gd name="connsiteX26" fmla="*/ 4952354 w 4970173"/>
              <a:gd name="connsiteY26" fmla="*/ 1580540 h 5475208"/>
              <a:gd name="connsiteX27" fmla="*/ 4924131 w 4970173"/>
              <a:gd name="connsiteY27" fmla="*/ 1114875 h 5475208"/>
              <a:gd name="connsiteX28" fmla="*/ 4867687 w 4970173"/>
              <a:gd name="connsiteY28" fmla="*/ 832652 h 5475208"/>
              <a:gd name="connsiteX29" fmla="*/ 4797132 w 4970173"/>
              <a:gd name="connsiteY29" fmla="*/ 493985 h 5475208"/>
              <a:gd name="connsiteX30" fmla="*/ 4656019 w 4970173"/>
              <a:gd name="connsiteY30" fmla="*/ 239986 h 5475208"/>
              <a:gd name="connsiteX31" fmla="*/ 4148019 w 4970173"/>
              <a:gd name="connsiteY31" fmla="*/ 14207 h 5475208"/>
              <a:gd name="connsiteX32" fmla="*/ 3611798 w 4970173"/>
              <a:gd name="connsiteY32" fmla="*/ 42430 h 5475208"/>
              <a:gd name="connsiteX33" fmla="*/ 3202576 w 4970173"/>
              <a:gd name="connsiteY33" fmla="*/ 197652 h 5475208"/>
              <a:gd name="connsiteX34" fmla="*/ 2920353 w 4970173"/>
              <a:gd name="connsiteY34" fmla="*/ 381097 h 5475208"/>
              <a:gd name="connsiteX35" fmla="*/ 2765131 w 4970173"/>
              <a:gd name="connsiteY35" fmla="*/ 620985 h 5475208"/>
              <a:gd name="connsiteX0" fmla="*/ 2760198 w 4965240"/>
              <a:gd name="connsiteY0" fmla="*/ 620985 h 5475208"/>
              <a:gd name="connsiteX1" fmla="*/ 2647309 w 4965240"/>
              <a:gd name="connsiteY1" fmla="*/ 1100764 h 5475208"/>
              <a:gd name="connsiteX2" fmla="*/ 2562643 w 4965240"/>
              <a:gd name="connsiteY2" fmla="*/ 1749874 h 5475208"/>
              <a:gd name="connsiteX3" fmla="*/ 2477976 w 4965240"/>
              <a:gd name="connsiteY3" fmla="*/ 2144986 h 5475208"/>
              <a:gd name="connsiteX4" fmla="*/ 2294531 w 4965240"/>
              <a:gd name="connsiteY4" fmla="*/ 2525985 h 5475208"/>
              <a:gd name="connsiteX5" fmla="*/ 1772420 w 4965240"/>
              <a:gd name="connsiteY5" fmla="*/ 2963430 h 5475208"/>
              <a:gd name="connsiteX6" fmla="*/ 1476087 w 4965240"/>
              <a:gd name="connsiteY6" fmla="*/ 3062208 h 5475208"/>
              <a:gd name="connsiteX7" fmla="*/ 1165643 w 4965240"/>
              <a:gd name="connsiteY7" fmla="*/ 3104541 h 5475208"/>
              <a:gd name="connsiteX8" fmla="*/ 770532 w 4965240"/>
              <a:gd name="connsiteY8" fmla="*/ 3245652 h 5475208"/>
              <a:gd name="connsiteX9" fmla="*/ 375421 w 4965240"/>
              <a:gd name="connsiteY9" fmla="*/ 3598430 h 5475208"/>
              <a:gd name="connsiteX10" fmla="*/ 8532 w 4965240"/>
              <a:gd name="connsiteY10" fmla="*/ 4445097 h 5475208"/>
              <a:gd name="connsiteX11" fmla="*/ 149643 w 4965240"/>
              <a:gd name="connsiteY11" fmla="*/ 4938986 h 5475208"/>
              <a:gd name="connsiteX12" fmla="*/ 516532 w 4965240"/>
              <a:gd name="connsiteY12" fmla="*/ 5291763 h 5475208"/>
              <a:gd name="connsiteX13" fmla="*/ 1109198 w 4965240"/>
              <a:gd name="connsiteY13" fmla="*/ 5446985 h 5475208"/>
              <a:gd name="connsiteX14" fmla="*/ 1730087 w 4965240"/>
              <a:gd name="connsiteY14" fmla="*/ 5475208 h 5475208"/>
              <a:gd name="connsiteX15" fmla="*/ 2421532 w 4965240"/>
              <a:gd name="connsiteY15" fmla="*/ 5178873 h 5475208"/>
              <a:gd name="connsiteX16" fmla="*/ 2746088 w 4965240"/>
              <a:gd name="connsiteY16" fmla="*/ 4868430 h 5475208"/>
              <a:gd name="connsiteX17" fmla="*/ 2929531 w 4965240"/>
              <a:gd name="connsiteY17" fmla="*/ 4459208 h 5475208"/>
              <a:gd name="connsiteX18" fmla="*/ 3183531 w 4965240"/>
              <a:gd name="connsiteY18" fmla="*/ 4191097 h 5475208"/>
              <a:gd name="connsiteX19" fmla="*/ 3508087 w 4965240"/>
              <a:gd name="connsiteY19" fmla="*/ 3951208 h 5475208"/>
              <a:gd name="connsiteX20" fmla="*/ 3733865 w 4965240"/>
              <a:gd name="connsiteY20" fmla="*/ 3824208 h 5475208"/>
              <a:gd name="connsiteX21" fmla="*/ 3959643 w 4965240"/>
              <a:gd name="connsiteY21" fmla="*/ 3697208 h 5475208"/>
              <a:gd name="connsiteX22" fmla="*/ 4157198 w 4965240"/>
              <a:gd name="connsiteY22" fmla="*/ 3584319 h 5475208"/>
              <a:gd name="connsiteX23" fmla="*/ 4312420 w 4965240"/>
              <a:gd name="connsiteY23" fmla="*/ 3485541 h 5475208"/>
              <a:gd name="connsiteX24" fmla="*/ 4721643 w 4965240"/>
              <a:gd name="connsiteY24" fmla="*/ 3104541 h 5475208"/>
              <a:gd name="connsiteX25" fmla="*/ 4947420 w 4965240"/>
              <a:gd name="connsiteY25" fmla="*/ 2243763 h 5475208"/>
              <a:gd name="connsiteX26" fmla="*/ 4947421 w 4965240"/>
              <a:gd name="connsiteY26" fmla="*/ 1580540 h 5475208"/>
              <a:gd name="connsiteX27" fmla="*/ 4919198 w 4965240"/>
              <a:gd name="connsiteY27" fmla="*/ 1114875 h 5475208"/>
              <a:gd name="connsiteX28" fmla="*/ 4862754 w 4965240"/>
              <a:gd name="connsiteY28" fmla="*/ 832652 h 5475208"/>
              <a:gd name="connsiteX29" fmla="*/ 4792199 w 4965240"/>
              <a:gd name="connsiteY29" fmla="*/ 493985 h 5475208"/>
              <a:gd name="connsiteX30" fmla="*/ 4651086 w 4965240"/>
              <a:gd name="connsiteY30" fmla="*/ 239986 h 5475208"/>
              <a:gd name="connsiteX31" fmla="*/ 4143086 w 4965240"/>
              <a:gd name="connsiteY31" fmla="*/ 14207 h 5475208"/>
              <a:gd name="connsiteX32" fmla="*/ 3606865 w 4965240"/>
              <a:gd name="connsiteY32" fmla="*/ 42430 h 5475208"/>
              <a:gd name="connsiteX33" fmla="*/ 3197643 w 4965240"/>
              <a:gd name="connsiteY33" fmla="*/ 197652 h 5475208"/>
              <a:gd name="connsiteX34" fmla="*/ 2915420 w 4965240"/>
              <a:gd name="connsiteY34" fmla="*/ 381097 h 5475208"/>
              <a:gd name="connsiteX35" fmla="*/ 2760198 w 4965240"/>
              <a:gd name="connsiteY35" fmla="*/ 620985 h 5475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965240" h="5475208">
                <a:moveTo>
                  <a:pt x="2760198" y="620985"/>
                </a:moveTo>
                <a:cubicBezTo>
                  <a:pt x="2715513" y="740929"/>
                  <a:pt x="2680235" y="912616"/>
                  <a:pt x="2647309" y="1100764"/>
                </a:cubicBezTo>
                <a:cubicBezTo>
                  <a:pt x="2614383" y="1288912"/>
                  <a:pt x="2590865" y="1575837"/>
                  <a:pt x="2562643" y="1749874"/>
                </a:cubicBezTo>
                <a:cubicBezTo>
                  <a:pt x="2534421" y="1923911"/>
                  <a:pt x="2522661" y="2015634"/>
                  <a:pt x="2477976" y="2144986"/>
                </a:cubicBezTo>
                <a:cubicBezTo>
                  <a:pt x="2433291" y="2274338"/>
                  <a:pt x="2360383" y="2424855"/>
                  <a:pt x="2294531" y="2525985"/>
                </a:cubicBezTo>
                <a:cubicBezTo>
                  <a:pt x="2174587" y="2671800"/>
                  <a:pt x="1908827" y="2874060"/>
                  <a:pt x="1772420" y="2963430"/>
                </a:cubicBezTo>
                <a:cubicBezTo>
                  <a:pt x="1636013" y="3052800"/>
                  <a:pt x="1577217" y="3038690"/>
                  <a:pt x="1476087" y="3062208"/>
                </a:cubicBezTo>
                <a:cubicBezTo>
                  <a:pt x="1374958" y="3085727"/>
                  <a:pt x="1283235" y="3073967"/>
                  <a:pt x="1165643" y="3104541"/>
                </a:cubicBezTo>
                <a:cubicBezTo>
                  <a:pt x="1048051" y="3135115"/>
                  <a:pt x="902236" y="3163337"/>
                  <a:pt x="770532" y="3245652"/>
                </a:cubicBezTo>
                <a:cubicBezTo>
                  <a:pt x="638828" y="3327967"/>
                  <a:pt x="502421" y="3398523"/>
                  <a:pt x="375421" y="3598430"/>
                </a:cubicBezTo>
                <a:cubicBezTo>
                  <a:pt x="248421" y="3798338"/>
                  <a:pt x="46162" y="4221671"/>
                  <a:pt x="8532" y="4445097"/>
                </a:cubicBezTo>
                <a:cubicBezTo>
                  <a:pt x="-29098" y="4668523"/>
                  <a:pt x="64976" y="4797875"/>
                  <a:pt x="149643" y="4938986"/>
                </a:cubicBezTo>
                <a:cubicBezTo>
                  <a:pt x="234310" y="5080097"/>
                  <a:pt x="356606" y="5207097"/>
                  <a:pt x="516532" y="5291763"/>
                </a:cubicBezTo>
                <a:cubicBezTo>
                  <a:pt x="676458" y="5376430"/>
                  <a:pt x="906939" y="5416411"/>
                  <a:pt x="1109198" y="5446985"/>
                </a:cubicBezTo>
                <a:cubicBezTo>
                  <a:pt x="1311457" y="5477559"/>
                  <a:pt x="1656498" y="5472908"/>
                  <a:pt x="1730087" y="5475208"/>
                </a:cubicBezTo>
                <a:cubicBezTo>
                  <a:pt x="1974680" y="5465800"/>
                  <a:pt x="2252199" y="5280003"/>
                  <a:pt x="2421532" y="5178873"/>
                </a:cubicBezTo>
                <a:cubicBezTo>
                  <a:pt x="2590866" y="5077743"/>
                  <a:pt x="2661422" y="4988374"/>
                  <a:pt x="2746088" y="4868430"/>
                </a:cubicBezTo>
                <a:cubicBezTo>
                  <a:pt x="2830754" y="4748486"/>
                  <a:pt x="2856624" y="4572097"/>
                  <a:pt x="2929531" y="4459208"/>
                </a:cubicBezTo>
                <a:cubicBezTo>
                  <a:pt x="3002438" y="4346319"/>
                  <a:pt x="3087105" y="4275764"/>
                  <a:pt x="3183531" y="4191097"/>
                </a:cubicBezTo>
                <a:cubicBezTo>
                  <a:pt x="3279957" y="4106430"/>
                  <a:pt x="3416365" y="4012356"/>
                  <a:pt x="3508087" y="3951208"/>
                </a:cubicBezTo>
                <a:cubicBezTo>
                  <a:pt x="3599809" y="3890060"/>
                  <a:pt x="3658606" y="3866541"/>
                  <a:pt x="3733865" y="3824208"/>
                </a:cubicBezTo>
                <a:cubicBezTo>
                  <a:pt x="3809124" y="3781875"/>
                  <a:pt x="3824129" y="3731086"/>
                  <a:pt x="3959643" y="3697208"/>
                </a:cubicBezTo>
                <a:cubicBezTo>
                  <a:pt x="4025495" y="3659578"/>
                  <a:pt x="4092162" y="3623341"/>
                  <a:pt x="4157198" y="3584319"/>
                </a:cubicBezTo>
                <a:cubicBezTo>
                  <a:pt x="4209787" y="3552766"/>
                  <a:pt x="4218346" y="3565504"/>
                  <a:pt x="4312420" y="3485541"/>
                </a:cubicBezTo>
                <a:cubicBezTo>
                  <a:pt x="4406494" y="3405578"/>
                  <a:pt x="4615810" y="3311504"/>
                  <a:pt x="4721643" y="3104541"/>
                </a:cubicBezTo>
                <a:cubicBezTo>
                  <a:pt x="4827476" y="2897578"/>
                  <a:pt x="4909790" y="2497763"/>
                  <a:pt x="4947420" y="2243763"/>
                </a:cubicBezTo>
                <a:cubicBezTo>
                  <a:pt x="4985050" y="1989763"/>
                  <a:pt x="4952125" y="1768688"/>
                  <a:pt x="4947421" y="1580540"/>
                </a:cubicBezTo>
                <a:cubicBezTo>
                  <a:pt x="4942717" y="1392392"/>
                  <a:pt x="4933309" y="1239523"/>
                  <a:pt x="4919198" y="1114875"/>
                </a:cubicBezTo>
                <a:cubicBezTo>
                  <a:pt x="4905087" y="990227"/>
                  <a:pt x="4883921" y="936134"/>
                  <a:pt x="4862754" y="832652"/>
                </a:cubicBezTo>
                <a:cubicBezTo>
                  <a:pt x="4841587" y="729170"/>
                  <a:pt x="4827477" y="592763"/>
                  <a:pt x="4792199" y="493985"/>
                </a:cubicBezTo>
                <a:cubicBezTo>
                  <a:pt x="4756921" y="395207"/>
                  <a:pt x="4759271" y="319949"/>
                  <a:pt x="4651086" y="239986"/>
                </a:cubicBezTo>
                <a:cubicBezTo>
                  <a:pt x="4542901" y="160023"/>
                  <a:pt x="4317123" y="47133"/>
                  <a:pt x="4143086" y="14207"/>
                </a:cubicBezTo>
                <a:cubicBezTo>
                  <a:pt x="3969049" y="-18719"/>
                  <a:pt x="3764439" y="11856"/>
                  <a:pt x="3606865" y="42430"/>
                </a:cubicBezTo>
                <a:cubicBezTo>
                  <a:pt x="3449291" y="73004"/>
                  <a:pt x="3312884" y="141208"/>
                  <a:pt x="3197643" y="197652"/>
                </a:cubicBezTo>
                <a:cubicBezTo>
                  <a:pt x="3082402" y="254097"/>
                  <a:pt x="2962457" y="331708"/>
                  <a:pt x="2915420" y="381097"/>
                </a:cubicBezTo>
                <a:cubicBezTo>
                  <a:pt x="2868383" y="430486"/>
                  <a:pt x="2804883" y="501041"/>
                  <a:pt x="2760198" y="620985"/>
                </a:cubicBezTo>
                <a:close/>
              </a:path>
            </a:pathLst>
          </a:custGeom>
          <a:ln w="57150" cmpd="sng">
            <a:solidFill>
              <a:schemeClr val="accent2">
                <a:lumMod val="75000"/>
              </a:schemeClr>
            </a:solidFill>
          </a:ln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endParaRPr lang="en-US" sz="2160">
              <a:ln w="38100" cmpd="sng">
                <a:solidFill>
                  <a:srgbClr val="8EC02F"/>
                </a:solidFill>
              </a:ln>
              <a:solidFill>
                <a:srgbClr val="000000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117875" y="956344"/>
            <a:ext cx="2977868" cy="1338828"/>
          </a:xfrm>
          <a:prstGeom prst="rect">
            <a:avLst/>
          </a:prstGeom>
          <a:solidFill>
            <a:srgbClr val="FF6600"/>
          </a:solidFill>
          <a:ln>
            <a:solidFill>
              <a:srgbClr val="B15D15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20" dirty="0"/>
              <a:t>Rapport McKinsey 2010: Het </a:t>
            </a:r>
            <a:r>
              <a:rPr lang="en-US" sz="1620" dirty="0" err="1"/>
              <a:t>energiereductiepotentieel</a:t>
            </a:r>
            <a:r>
              <a:rPr lang="en-US" sz="1620" dirty="0"/>
              <a:t> door </a:t>
            </a:r>
            <a:r>
              <a:rPr lang="en-US" sz="1620" dirty="0" err="1"/>
              <a:t>verbeterd</a:t>
            </a:r>
            <a:r>
              <a:rPr lang="en-US" sz="1620" dirty="0"/>
              <a:t> </a:t>
            </a:r>
            <a:r>
              <a:rPr lang="en-US" sz="1620" dirty="0" err="1" smtClean="0"/>
              <a:t>energie</a:t>
            </a:r>
            <a:r>
              <a:rPr lang="en-US" sz="1620" dirty="0" smtClean="0"/>
              <a:t>-management </a:t>
            </a:r>
            <a:r>
              <a:rPr lang="en-US" sz="1620" dirty="0"/>
              <a:t>in de </a:t>
            </a:r>
            <a:r>
              <a:rPr lang="en-US" sz="1620" dirty="0" err="1"/>
              <a:t>industrie</a:t>
            </a:r>
            <a:r>
              <a:rPr lang="en-US" sz="1620" dirty="0"/>
              <a:t> </a:t>
            </a:r>
            <a:r>
              <a:rPr lang="en-US" sz="1620" dirty="0" err="1"/>
              <a:t>bedraagt</a:t>
            </a:r>
            <a:r>
              <a:rPr lang="en-US" sz="1620" dirty="0"/>
              <a:t> 25%.</a:t>
            </a:r>
          </a:p>
        </p:txBody>
      </p:sp>
    </p:spTree>
    <p:extLst>
      <p:ext uri="{BB962C8B-B14F-4D97-AF65-F5344CB8AC3E}">
        <p14:creationId xmlns:p14="http://schemas.microsoft.com/office/powerpoint/2010/main" val="323959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Holistische aanpak:</a:t>
            </a:r>
            <a:r>
              <a:rPr lang="nl-BE" dirty="0"/>
              <a:t/>
            </a:r>
            <a:br>
              <a:rPr lang="nl-BE" dirty="0"/>
            </a:br>
            <a:r>
              <a:rPr lang="nl-BE" dirty="0" smtClean="0"/>
              <a:t>analyse - management - </a:t>
            </a:r>
            <a:r>
              <a:rPr lang="nl-BE" dirty="0"/>
              <a:t>mensen</a:t>
            </a:r>
            <a:endParaRPr lang="en-GB" dirty="0"/>
          </a:p>
        </p:txBody>
      </p:sp>
      <p:graphicFrame>
        <p:nvGraphicFramePr>
          <p:cNvPr id="4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9006779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1" descr="Logo ENERGYmaestro small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1664" y="3568863"/>
            <a:ext cx="1279643" cy="58863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22432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70562" y="3209125"/>
            <a:ext cx="1797977" cy="978729"/>
          </a:xfrm>
          <a:prstGeom prst="rect">
            <a:avLst/>
          </a:prstGeom>
          <a:solidFill>
            <a:srgbClr val="8EC02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Wat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was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mijn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gemiddelde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energie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verbruik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vorige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week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619910" y="2705236"/>
            <a:ext cx="1797107" cy="978729"/>
          </a:xfrm>
          <a:prstGeom prst="rect">
            <a:avLst/>
          </a:prstGeom>
          <a:solidFill>
            <a:srgbClr val="8EC02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Waarom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was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mijn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energieverbruik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vorige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week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hoger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93690" y="2193085"/>
            <a:ext cx="1783123" cy="978729"/>
          </a:xfrm>
          <a:prstGeom prst="rect">
            <a:avLst/>
          </a:prstGeom>
          <a:solidFill>
            <a:srgbClr val="8EC02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Wat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zou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mijn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energieverbruik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volgend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uur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moeten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zijn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?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73680" y="1855715"/>
            <a:ext cx="1801679" cy="757130"/>
          </a:xfrm>
          <a:prstGeom prst="rect">
            <a:avLst/>
          </a:prstGeom>
          <a:solidFill>
            <a:srgbClr val="8EC02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40" b="1" dirty="0">
                <a:solidFill>
                  <a:srgbClr val="FFFFFF"/>
                </a:solidFill>
                <a:latin typeface="+mj-lt"/>
              </a:rPr>
              <a:t>Hoe het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energieverbruik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te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440" b="1" dirty="0" err="1">
                <a:solidFill>
                  <a:srgbClr val="FFFFFF"/>
                </a:solidFill>
                <a:latin typeface="+mj-lt"/>
              </a:rPr>
              <a:t>verminderen</a:t>
            </a:r>
            <a:r>
              <a:rPr lang="en-US" sz="1440" b="1" dirty="0">
                <a:solidFill>
                  <a:srgbClr val="FFFFFF"/>
                </a:solidFill>
                <a:latin typeface="+mj-lt"/>
              </a:rPr>
              <a:t>? 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1. TECHNOLOGIE:</a:t>
            </a:r>
            <a:br>
              <a:rPr lang="nl-BE" dirty="0" smtClean="0"/>
            </a:br>
            <a:r>
              <a:rPr lang="nl-BE" dirty="0" smtClean="0"/>
              <a:t>creëert waarde met big data en data analyse</a:t>
            </a:r>
            <a:br>
              <a:rPr lang="nl-BE" dirty="0" smtClean="0"/>
            </a:b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 dirty="0"/>
          </a:p>
        </p:txBody>
      </p:sp>
      <p:cxnSp>
        <p:nvCxnSpPr>
          <p:cNvPr id="12" name="Straight Arrow Connector 11"/>
          <p:cNvCxnSpPr/>
          <p:nvPr/>
        </p:nvCxnSpPr>
        <p:spPr bwMode="auto">
          <a:xfrm flipV="1">
            <a:off x="639305" y="1400175"/>
            <a:ext cx="3633" cy="450855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" name="Straight Arrow Connector 13"/>
          <p:cNvCxnSpPr/>
          <p:nvPr/>
        </p:nvCxnSpPr>
        <p:spPr bwMode="auto">
          <a:xfrm flipV="1">
            <a:off x="193730" y="5715000"/>
            <a:ext cx="8407830" cy="77492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" name="TextBox 14"/>
          <p:cNvSpPr txBox="1"/>
          <p:nvPr/>
        </p:nvSpPr>
        <p:spPr>
          <a:xfrm>
            <a:off x="772112" y="4256812"/>
            <a:ext cx="1797977" cy="535531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40" b="1" dirty="0">
                <a:solidFill>
                  <a:srgbClr val="FFFFFF"/>
                </a:solidFill>
                <a:latin typeface="+mj-lt"/>
              </a:rPr>
              <a:t>Descriptive analytic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33458" y="3735296"/>
            <a:ext cx="1797977" cy="535531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40" b="1" dirty="0">
                <a:solidFill>
                  <a:srgbClr val="FFFFFF"/>
                </a:solidFill>
                <a:latin typeface="+mj-lt"/>
              </a:rPr>
              <a:t>Diagnostic</a:t>
            </a:r>
          </a:p>
          <a:p>
            <a:pPr algn="ctr"/>
            <a:r>
              <a:rPr lang="en-US" sz="1440" b="1" dirty="0">
                <a:solidFill>
                  <a:srgbClr val="FFFFFF"/>
                </a:solidFill>
                <a:latin typeface="+mj-lt"/>
              </a:rPr>
              <a:t>analytic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94805" y="3233149"/>
            <a:ext cx="1797977" cy="535531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40" b="1" dirty="0">
                <a:solidFill>
                  <a:srgbClr val="FFFFFF"/>
                </a:solidFill>
                <a:latin typeface="+mj-lt"/>
              </a:rPr>
              <a:t>Predictive</a:t>
            </a:r>
          </a:p>
          <a:p>
            <a:pPr algn="ctr"/>
            <a:r>
              <a:rPr lang="en-US" sz="1440" b="1" dirty="0">
                <a:solidFill>
                  <a:srgbClr val="FFFFFF"/>
                </a:solidFill>
                <a:latin typeface="+mj-lt"/>
              </a:rPr>
              <a:t>analytic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394899" y="2672885"/>
            <a:ext cx="1797977" cy="535531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40" b="1" dirty="0">
                <a:solidFill>
                  <a:srgbClr val="FFFFFF"/>
                </a:solidFill>
                <a:latin typeface="+mj-lt"/>
              </a:rPr>
              <a:t>Prescriptive</a:t>
            </a:r>
          </a:p>
          <a:p>
            <a:pPr algn="ctr"/>
            <a:r>
              <a:rPr lang="en-US" sz="1440" b="1" dirty="0">
                <a:solidFill>
                  <a:srgbClr val="FFFFFF"/>
                </a:solidFill>
                <a:latin typeface="+mj-lt"/>
              </a:rPr>
              <a:t>analytics</a:t>
            </a:r>
          </a:p>
        </p:txBody>
      </p:sp>
      <p:sp>
        <p:nvSpPr>
          <p:cNvPr id="19" name="TextBox 18"/>
          <p:cNvSpPr txBox="1"/>
          <p:nvPr/>
        </p:nvSpPr>
        <p:spPr>
          <a:xfrm rot="16200000">
            <a:off x="-137340" y="3025881"/>
            <a:ext cx="1009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Waarde</a:t>
            </a:r>
            <a:endParaRPr lang="en-US" b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20671040">
            <a:off x="682370" y="4037798"/>
            <a:ext cx="8317417" cy="716796"/>
          </a:xfrm>
          <a:prstGeom prst="rightArrow">
            <a:avLst>
              <a:gd name="adj1" fmla="val 73723"/>
              <a:gd name="adj2" fmla="val 99293"/>
            </a:avLst>
          </a:prstGeom>
          <a:solidFill>
            <a:srgbClr val="00A4C8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296" tIns="41148" rIns="82296" bIns="41148" numCol="1" rtlCol="0" anchor="t" anchorCtr="0" compatLnSpc="1">
            <a:prstTxWarp prst="textNoShape">
              <a:avLst/>
            </a:prstTxWarp>
          </a:bodyPr>
          <a:lstStyle/>
          <a:p>
            <a:pPr defTabSz="822960" eaLnBrk="1" hangingPunct="1"/>
            <a:r>
              <a:rPr lang="en-US" sz="2160" b="1" dirty="0" err="1">
                <a:solidFill>
                  <a:srgbClr val="FFFFFF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Informatie</a:t>
            </a:r>
            <a:r>
              <a:rPr lang="en-US" sz="2160" b="1" dirty="0">
                <a:solidFill>
                  <a:srgbClr val="FFFFFF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						</a:t>
            </a:r>
            <a:r>
              <a:rPr lang="en-US" sz="2160" b="1" dirty="0" err="1">
                <a:solidFill>
                  <a:srgbClr val="FFFFFF"/>
                </a:solidFill>
                <a:latin typeface="Arial" pitchFamily="-109" charset="0"/>
                <a:ea typeface="ヒラギノ角ゴ ProN W3" pitchFamily="-109" charset="-128"/>
                <a:cs typeface="ヒラギノ角ゴ ProN W3" pitchFamily="-109" charset="-128"/>
                <a:sym typeface="Arial" pitchFamily="-109" charset="0"/>
              </a:rPr>
              <a:t>Optimalisatie</a:t>
            </a:r>
            <a:endParaRPr lang="en-US" sz="2160" b="1" dirty="0">
              <a:solidFill>
                <a:srgbClr val="FFFFFF"/>
              </a:solidFill>
              <a:latin typeface="Arial" pitchFamily="-109" charset="0"/>
              <a:ea typeface="ヒラギノ角ゴ ProN W3" pitchFamily="-109" charset="-128"/>
              <a:cs typeface="ヒラギノ角ゴ ProN W3" pitchFamily="-109" charset="-128"/>
              <a:sym typeface="Arial" pitchFamily="-109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779263" y="5871534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Moeilijkheidsgraad</a:t>
            </a:r>
            <a:endParaRPr lang="en-US" b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 rot="20665633">
            <a:off x="2045301" y="5176267"/>
            <a:ext cx="1603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>
                <a:solidFill>
                  <a:schemeClr val="bg2">
                    <a:lumMod val="50000"/>
                  </a:schemeClr>
                </a:solidFill>
                <a:latin typeface="+mj-lt"/>
              </a:rPr>
              <a:t>T</a:t>
            </a:r>
            <a:r>
              <a:rPr lang="en-US" b="1" dirty="0" err="1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erugblikken</a:t>
            </a:r>
            <a:endParaRPr lang="en-US" b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4" name="TextBox 23"/>
          <p:cNvSpPr txBox="1"/>
          <p:nvPr/>
        </p:nvSpPr>
        <p:spPr>
          <a:xfrm rot="20688168">
            <a:off x="4599448" y="4577264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Inzicht</a:t>
            </a:r>
            <a:endParaRPr lang="en-US" b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5" name="TextBox 24"/>
          <p:cNvSpPr txBox="1"/>
          <p:nvPr/>
        </p:nvSpPr>
        <p:spPr>
          <a:xfrm rot="20722204">
            <a:off x="6826395" y="3900764"/>
            <a:ext cx="1424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>
                <a:solidFill>
                  <a:schemeClr val="bg2">
                    <a:lumMod val="50000"/>
                  </a:schemeClr>
                </a:solidFill>
                <a:latin typeface="+mj-lt"/>
              </a:rPr>
              <a:t>Vooruitzien</a:t>
            </a:r>
            <a:endParaRPr lang="en-US" b="1" dirty="0">
              <a:solidFill>
                <a:schemeClr val="bg2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0915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2. MANAGEMENT:</a:t>
            </a:r>
            <a:r>
              <a:rPr lang="nl-BE" dirty="0"/>
              <a:t/>
            </a:r>
            <a:br>
              <a:rPr lang="nl-BE" dirty="0"/>
            </a:br>
            <a:r>
              <a:rPr lang="nl-BE" dirty="0" smtClean="0"/>
              <a:t>Gebruik </a:t>
            </a:r>
            <a:r>
              <a:rPr lang="nl-BE" dirty="0"/>
              <a:t>principes van “continue verbetering”</a:t>
            </a:r>
            <a:br>
              <a:rPr lang="nl-BE" dirty="0"/>
            </a:br>
            <a:endParaRPr lang="en-GB" dirty="0"/>
          </a:p>
        </p:txBody>
      </p:sp>
      <p:pic>
        <p:nvPicPr>
          <p:cNvPr id="4" name="Picture Placeholder 3" descr="PP02_figure_infocycle_o.eps"/>
          <p:cNvPicPr>
            <a:picLocks noGrp="1" noChangeAspect="1"/>
          </p:cNvPicPr>
          <p:nvPr>
            <p:ph idx="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302625" y="1633754"/>
            <a:ext cx="5155200" cy="4525963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7866" y="4239108"/>
            <a:ext cx="2746949" cy="173376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86413" y="1451611"/>
            <a:ext cx="3228975" cy="155777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77866" y="2880361"/>
            <a:ext cx="2908934" cy="101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71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heme/theme1.xml><?xml version="1.0" encoding="utf-8"?>
<a:theme xmlns:a="http://schemas.openxmlformats.org/drawingml/2006/main" name="Standaardontwerp">
  <a:themeElements>
    <a:clrScheme name="Aangepast 10">
      <a:dk1>
        <a:srgbClr val="0D1E1F"/>
      </a:dk1>
      <a:lt1>
        <a:srgbClr val="FFFFFF"/>
      </a:lt1>
      <a:dk2>
        <a:srgbClr val="0D1E1F"/>
      </a:dk2>
      <a:lt2>
        <a:srgbClr val="A5A5A5"/>
      </a:lt2>
      <a:accent1>
        <a:srgbClr val="99CC00"/>
      </a:accent1>
      <a:accent2>
        <a:srgbClr val="900000"/>
      </a:accent2>
      <a:accent3>
        <a:srgbClr val="009999"/>
      </a:accent3>
      <a:accent4>
        <a:srgbClr val="C00000"/>
      </a:accent4>
      <a:accent5>
        <a:srgbClr val="7B7B7B"/>
      </a:accent5>
      <a:accent6>
        <a:srgbClr val="0070C0"/>
      </a:accent6>
      <a:hlink>
        <a:srgbClr val="009999"/>
      </a:hlink>
      <a:folHlink>
        <a:srgbClr val="99CC00"/>
      </a:folHlink>
    </a:clrScheme>
    <a:fontScheme name="Standaardontwerp">
      <a:majorFont>
        <a:latin typeface="Gill Sans MT"/>
        <a:ea typeface=""/>
        <a:cs typeface="Arial"/>
      </a:majorFont>
      <a:minorFont>
        <a:latin typeface="Gill Sans MT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Standaardontwe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04</TotalTime>
  <Words>883</Words>
  <Application>Microsoft Office PowerPoint</Application>
  <PresentationFormat>Diavoorstelling (4:3)</PresentationFormat>
  <Paragraphs>277</Paragraphs>
  <Slides>30</Slides>
  <Notes>9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9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0</vt:i4>
      </vt:variant>
    </vt:vector>
  </HeadingPairs>
  <TitlesOfParts>
    <vt:vector size="41" baseType="lpstr">
      <vt:lpstr>45 Helvetica Light</vt:lpstr>
      <vt:lpstr>Arial</vt:lpstr>
      <vt:lpstr>Gill Sans MT</vt:lpstr>
      <vt:lpstr>Helvetica Light</vt:lpstr>
      <vt:lpstr>Helvetica Neue</vt:lpstr>
      <vt:lpstr>Lucida Grande</vt:lpstr>
      <vt:lpstr>Verdana</vt:lpstr>
      <vt:lpstr>Wingdings</vt:lpstr>
      <vt:lpstr>ヒラギノ角ゴ ProN W3</vt:lpstr>
      <vt:lpstr>Standaardontwerp</vt:lpstr>
      <vt:lpstr>think-cell Slide</vt:lpstr>
      <vt:lpstr>Participatief project ENERGYmaestro bij Prayon</vt:lpstr>
      <vt:lpstr>Voorstelling INDEA</vt:lpstr>
      <vt:lpstr>Voorstelling Prayon</vt:lpstr>
      <vt:lpstr>ENERGYmaestro: een methodologie</vt:lpstr>
      <vt:lpstr>Methodologie</vt:lpstr>
      <vt:lpstr>Doelstelling: operationele energiekosten reduceren</vt:lpstr>
      <vt:lpstr>Holistische aanpak: analyse - management - mensen</vt:lpstr>
      <vt:lpstr>1. TECHNOLOGIE: creëert waarde met big data en data analyse </vt:lpstr>
      <vt:lpstr>2. MANAGEMENT: Gebruik principes van “continue verbetering” </vt:lpstr>
      <vt:lpstr>3. MINDSET EN VAARDIGHEDEN: betrekken en opleiden van operatoren</vt:lpstr>
      <vt:lpstr>PowerPoint-presentatie</vt:lpstr>
      <vt:lpstr>PowerPoint-presentatie</vt:lpstr>
      <vt:lpstr>Case prayon - witzuur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Vragen?</vt:lpstr>
    </vt:vector>
  </TitlesOfParts>
  <Company>H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 1</dc:title>
  <dc:creator>Valérie</dc:creator>
  <cp:lastModifiedBy>Gebruiker</cp:lastModifiedBy>
  <cp:revision>210</cp:revision>
  <dcterms:created xsi:type="dcterms:W3CDTF">2007-09-28T09:52:01Z</dcterms:created>
  <dcterms:modified xsi:type="dcterms:W3CDTF">2017-05-03T12:53:01Z</dcterms:modified>
</cp:coreProperties>
</file>